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57" r:id="rId1"/>
  </p:sldMasterIdLst>
  <p:notesMasterIdLst>
    <p:notesMasterId r:id="rId16"/>
  </p:notesMasterIdLst>
  <p:sldIdLst>
    <p:sldId id="256" r:id="rId2"/>
    <p:sldId id="257" r:id="rId3"/>
    <p:sldId id="297" r:id="rId4"/>
    <p:sldId id="295" r:id="rId5"/>
    <p:sldId id="302" r:id="rId6"/>
    <p:sldId id="303" r:id="rId7"/>
    <p:sldId id="289" r:id="rId8"/>
    <p:sldId id="308" r:id="rId9"/>
    <p:sldId id="310" r:id="rId10"/>
    <p:sldId id="309" r:id="rId11"/>
    <p:sldId id="290" r:id="rId12"/>
    <p:sldId id="291" r:id="rId13"/>
    <p:sldId id="292" r:id="rId14"/>
    <p:sldId id="296" r:id="rId15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1823"/>
    <a:srgbClr val="005C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068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2316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_rels/data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7.png"/><Relationship Id="rId7" Type="http://schemas.openxmlformats.org/officeDocument/2006/relationships/image" Target="../media/image10.jpeg"/><Relationship Id="rId2" Type="http://schemas.microsoft.com/office/2007/relationships/hdphoto" Target="../media/hdphoto1.wdp"/><Relationship Id="rId1" Type="http://schemas.openxmlformats.org/officeDocument/2006/relationships/image" Target="../media/image6.png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microsoft.com/office/2007/relationships/hdphoto" Target="../media/hdphoto3.wdp"/></Relationships>
</file>

<file path=ppt/diagrams/_rels/drawing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7.png"/><Relationship Id="rId7" Type="http://schemas.openxmlformats.org/officeDocument/2006/relationships/image" Target="../media/image10.jpeg"/><Relationship Id="rId2" Type="http://schemas.microsoft.com/office/2007/relationships/hdphoto" Target="../media/hdphoto1.wdp"/><Relationship Id="rId1" Type="http://schemas.openxmlformats.org/officeDocument/2006/relationships/image" Target="../media/image6.png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microsoft.com/office/2007/relationships/hdphoto" Target="../media/hdphoto3.wdp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800EBC8-CA79-4F1E-9A67-3AC32D8B7E1E}" type="doc">
      <dgm:prSet loTypeId="urn:microsoft.com/office/officeart/2005/8/layout/hList6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A0C09255-FEFA-4C6C-BE6A-51F1A0F57B12}">
      <dgm:prSet phldrT="[Текст]"/>
      <dgm:spPr/>
      <dgm:t>
        <a:bodyPr/>
        <a:lstStyle/>
        <a:p>
          <a:r>
            <a:rPr lang="ru-RU" dirty="0"/>
            <a:t>Нехватка в местном бюджете средств на проекты развития</a:t>
          </a:r>
        </a:p>
      </dgm:t>
    </dgm:pt>
    <dgm:pt modelId="{9DDC3FB8-F366-4E33-AC69-36F47BC97DBF}" type="parTrans" cxnId="{E5EC760B-EAEF-47F0-B7DE-0E292F68C89F}">
      <dgm:prSet/>
      <dgm:spPr/>
      <dgm:t>
        <a:bodyPr/>
        <a:lstStyle/>
        <a:p>
          <a:endParaRPr lang="ru-RU"/>
        </a:p>
      </dgm:t>
    </dgm:pt>
    <dgm:pt modelId="{49981F94-B6C0-4EEC-BAAA-D9A7ACD3D09A}" type="sibTrans" cxnId="{E5EC760B-EAEF-47F0-B7DE-0E292F68C89F}">
      <dgm:prSet/>
      <dgm:spPr/>
      <dgm:t>
        <a:bodyPr/>
        <a:lstStyle/>
        <a:p>
          <a:endParaRPr lang="ru-RU"/>
        </a:p>
      </dgm:t>
    </dgm:pt>
    <dgm:pt modelId="{8AF7B158-C270-4804-A6A8-5336E3C348E6}">
      <dgm:prSet/>
      <dgm:spPr/>
      <dgm:t>
        <a:bodyPr/>
        <a:lstStyle/>
        <a:p>
          <a:r>
            <a:rPr lang="ru-RU" dirty="0"/>
            <a:t>Низкий уровень  заработных плат в органах местного самоуправления</a:t>
          </a:r>
        </a:p>
      </dgm:t>
    </dgm:pt>
    <dgm:pt modelId="{3F8C6DF3-38F6-486C-8AB6-5F5CCCFC117B}" type="parTrans" cxnId="{17452182-7271-4A8D-B52F-86E865DACA3A}">
      <dgm:prSet/>
      <dgm:spPr/>
      <dgm:t>
        <a:bodyPr/>
        <a:lstStyle/>
        <a:p>
          <a:endParaRPr lang="ru-RU"/>
        </a:p>
      </dgm:t>
    </dgm:pt>
    <dgm:pt modelId="{52539184-5B98-4877-BBD0-E31594DEA9CC}" type="sibTrans" cxnId="{17452182-7271-4A8D-B52F-86E865DACA3A}">
      <dgm:prSet/>
      <dgm:spPr/>
      <dgm:t>
        <a:bodyPr/>
        <a:lstStyle/>
        <a:p>
          <a:endParaRPr lang="ru-RU"/>
        </a:p>
      </dgm:t>
    </dgm:pt>
    <dgm:pt modelId="{058786A0-F059-47DD-BC21-2C063A456FF8}">
      <dgm:prSet/>
      <dgm:spPr/>
      <dgm:t>
        <a:bodyPr/>
        <a:lstStyle/>
        <a:p>
          <a:r>
            <a:rPr lang="ru-RU" dirty="0"/>
            <a:t>Рабочие конструктивные отношения между ОМСУ района и поселения</a:t>
          </a:r>
        </a:p>
      </dgm:t>
    </dgm:pt>
    <dgm:pt modelId="{90E8E0D0-9B96-4BE0-B2B9-C2E05DFD779A}" type="parTrans" cxnId="{1EF095CE-D1B8-409C-9172-DBDCAEEE1C92}">
      <dgm:prSet/>
      <dgm:spPr/>
      <dgm:t>
        <a:bodyPr/>
        <a:lstStyle/>
        <a:p>
          <a:endParaRPr lang="ru-RU"/>
        </a:p>
      </dgm:t>
    </dgm:pt>
    <dgm:pt modelId="{AEFA7D08-FD72-49F2-9D33-2EDF0279372A}" type="sibTrans" cxnId="{1EF095CE-D1B8-409C-9172-DBDCAEEE1C92}">
      <dgm:prSet/>
      <dgm:spPr/>
      <dgm:t>
        <a:bodyPr/>
        <a:lstStyle/>
        <a:p>
          <a:endParaRPr lang="ru-RU"/>
        </a:p>
      </dgm:t>
    </dgm:pt>
    <dgm:pt modelId="{2D8BDDB5-ECF2-43A3-8EAA-44FD52B505E1}">
      <dgm:prSet/>
      <dgm:spPr/>
      <dgm:t>
        <a:bodyPr/>
        <a:lstStyle/>
        <a:p>
          <a:r>
            <a:rPr lang="ru-RU" dirty="0"/>
            <a:t>Владели информацией о подготовке решений о поддержке муниципальных округов в других регионах</a:t>
          </a:r>
        </a:p>
      </dgm:t>
    </dgm:pt>
    <dgm:pt modelId="{A1C09143-53DA-40C3-BFB5-4DC72DB9B6C1}" type="parTrans" cxnId="{CC9F5B96-F974-4FA5-B6C0-F4444B8BB4F8}">
      <dgm:prSet/>
      <dgm:spPr/>
      <dgm:t>
        <a:bodyPr/>
        <a:lstStyle/>
        <a:p>
          <a:endParaRPr lang="ru-RU"/>
        </a:p>
      </dgm:t>
    </dgm:pt>
    <dgm:pt modelId="{F63181D2-CF5C-42B6-91ED-6D3B6FF533F7}" type="sibTrans" cxnId="{CC9F5B96-F974-4FA5-B6C0-F4444B8BB4F8}">
      <dgm:prSet/>
      <dgm:spPr/>
      <dgm:t>
        <a:bodyPr/>
        <a:lstStyle/>
        <a:p>
          <a:endParaRPr lang="ru-RU"/>
        </a:p>
      </dgm:t>
    </dgm:pt>
    <dgm:pt modelId="{745BE533-7B20-4645-B523-CBD1AA1358E9}" type="pres">
      <dgm:prSet presAssocID="{B800EBC8-CA79-4F1E-9A67-3AC32D8B7E1E}" presName="Name0" presStyleCnt="0">
        <dgm:presLayoutVars>
          <dgm:dir/>
          <dgm:resizeHandles val="exact"/>
        </dgm:presLayoutVars>
      </dgm:prSet>
      <dgm:spPr/>
    </dgm:pt>
    <dgm:pt modelId="{8FD5A6A4-09AD-4610-913D-0877C7A25D45}" type="pres">
      <dgm:prSet presAssocID="{A0C09255-FEFA-4C6C-BE6A-51F1A0F57B12}" presName="node" presStyleLbl="node1" presStyleIdx="0" presStyleCnt="4">
        <dgm:presLayoutVars>
          <dgm:bulletEnabled val="1"/>
        </dgm:presLayoutVars>
      </dgm:prSet>
      <dgm:spPr/>
    </dgm:pt>
    <dgm:pt modelId="{18D371D2-C4F0-468A-9C58-C2862F0C0F50}" type="pres">
      <dgm:prSet presAssocID="{49981F94-B6C0-4EEC-BAAA-D9A7ACD3D09A}" presName="sibTrans" presStyleCnt="0"/>
      <dgm:spPr/>
    </dgm:pt>
    <dgm:pt modelId="{7E5C7B20-2AE8-48BB-A6FC-0C4FF3A0035A}" type="pres">
      <dgm:prSet presAssocID="{8AF7B158-C270-4804-A6A8-5336E3C348E6}" presName="node" presStyleLbl="node1" presStyleIdx="1" presStyleCnt="4">
        <dgm:presLayoutVars>
          <dgm:bulletEnabled val="1"/>
        </dgm:presLayoutVars>
      </dgm:prSet>
      <dgm:spPr/>
    </dgm:pt>
    <dgm:pt modelId="{186B1C99-F211-40B8-B05F-42A60A9E0505}" type="pres">
      <dgm:prSet presAssocID="{52539184-5B98-4877-BBD0-E31594DEA9CC}" presName="sibTrans" presStyleCnt="0"/>
      <dgm:spPr/>
    </dgm:pt>
    <dgm:pt modelId="{417E9832-FA74-4FC0-924E-915F882144B5}" type="pres">
      <dgm:prSet presAssocID="{058786A0-F059-47DD-BC21-2C063A456FF8}" presName="node" presStyleLbl="node1" presStyleIdx="2" presStyleCnt="4">
        <dgm:presLayoutVars>
          <dgm:bulletEnabled val="1"/>
        </dgm:presLayoutVars>
      </dgm:prSet>
      <dgm:spPr/>
    </dgm:pt>
    <dgm:pt modelId="{68242208-566F-4E9B-95BF-140A5383FC71}" type="pres">
      <dgm:prSet presAssocID="{AEFA7D08-FD72-49F2-9D33-2EDF0279372A}" presName="sibTrans" presStyleCnt="0"/>
      <dgm:spPr/>
    </dgm:pt>
    <dgm:pt modelId="{F9F3F94D-83F2-4AD0-8409-CC4C6128F937}" type="pres">
      <dgm:prSet presAssocID="{2D8BDDB5-ECF2-43A3-8EAA-44FD52B505E1}" presName="node" presStyleLbl="node1" presStyleIdx="3" presStyleCnt="4">
        <dgm:presLayoutVars>
          <dgm:bulletEnabled val="1"/>
        </dgm:presLayoutVars>
      </dgm:prSet>
      <dgm:spPr/>
    </dgm:pt>
  </dgm:ptLst>
  <dgm:cxnLst>
    <dgm:cxn modelId="{E5EC760B-EAEF-47F0-B7DE-0E292F68C89F}" srcId="{B800EBC8-CA79-4F1E-9A67-3AC32D8B7E1E}" destId="{A0C09255-FEFA-4C6C-BE6A-51F1A0F57B12}" srcOrd="0" destOrd="0" parTransId="{9DDC3FB8-F366-4E33-AC69-36F47BC97DBF}" sibTransId="{49981F94-B6C0-4EEC-BAAA-D9A7ACD3D09A}"/>
    <dgm:cxn modelId="{AF434E13-F8F0-4986-9F5A-A470DD60C1C4}" type="presOf" srcId="{B800EBC8-CA79-4F1E-9A67-3AC32D8B7E1E}" destId="{745BE533-7B20-4645-B523-CBD1AA1358E9}" srcOrd="0" destOrd="0" presId="urn:microsoft.com/office/officeart/2005/8/layout/hList6"/>
    <dgm:cxn modelId="{65EC335A-FB6F-43A4-8FAB-39BD4CA68913}" type="presOf" srcId="{A0C09255-FEFA-4C6C-BE6A-51F1A0F57B12}" destId="{8FD5A6A4-09AD-4610-913D-0877C7A25D45}" srcOrd="0" destOrd="0" presId="urn:microsoft.com/office/officeart/2005/8/layout/hList6"/>
    <dgm:cxn modelId="{17452182-7271-4A8D-B52F-86E865DACA3A}" srcId="{B800EBC8-CA79-4F1E-9A67-3AC32D8B7E1E}" destId="{8AF7B158-C270-4804-A6A8-5336E3C348E6}" srcOrd="1" destOrd="0" parTransId="{3F8C6DF3-38F6-486C-8AB6-5F5CCCFC117B}" sibTransId="{52539184-5B98-4877-BBD0-E31594DEA9CC}"/>
    <dgm:cxn modelId="{CC9F5B96-F974-4FA5-B6C0-F4444B8BB4F8}" srcId="{B800EBC8-CA79-4F1E-9A67-3AC32D8B7E1E}" destId="{2D8BDDB5-ECF2-43A3-8EAA-44FD52B505E1}" srcOrd="3" destOrd="0" parTransId="{A1C09143-53DA-40C3-BFB5-4DC72DB9B6C1}" sibTransId="{F63181D2-CF5C-42B6-91ED-6D3B6FF533F7}"/>
    <dgm:cxn modelId="{CAC6FFB8-8805-4EF0-A8C1-87D95F00C77E}" type="presOf" srcId="{2D8BDDB5-ECF2-43A3-8EAA-44FD52B505E1}" destId="{F9F3F94D-83F2-4AD0-8409-CC4C6128F937}" srcOrd="0" destOrd="0" presId="urn:microsoft.com/office/officeart/2005/8/layout/hList6"/>
    <dgm:cxn modelId="{1EF095CE-D1B8-409C-9172-DBDCAEEE1C92}" srcId="{B800EBC8-CA79-4F1E-9A67-3AC32D8B7E1E}" destId="{058786A0-F059-47DD-BC21-2C063A456FF8}" srcOrd="2" destOrd="0" parTransId="{90E8E0D0-9B96-4BE0-B2B9-C2E05DFD779A}" sibTransId="{AEFA7D08-FD72-49F2-9D33-2EDF0279372A}"/>
    <dgm:cxn modelId="{FFAE1FD9-6A4D-4D5E-9166-D25F78DB4983}" type="presOf" srcId="{058786A0-F059-47DD-BC21-2C063A456FF8}" destId="{417E9832-FA74-4FC0-924E-915F882144B5}" srcOrd="0" destOrd="0" presId="urn:microsoft.com/office/officeart/2005/8/layout/hList6"/>
    <dgm:cxn modelId="{A1DAFDFD-255F-428A-B38D-16C3ED6435DB}" type="presOf" srcId="{8AF7B158-C270-4804-A6A8-5336E3C348E6}" destId="{7E5C7B20-2AE8-48BB-A6FC-0C4FF3A0035A}" srcOrd="0" destOrd="0" presId="urn:microsoft.com/office/officeart/2005/8/layout/hList6"/>
    <dgm:cxn modelId="{A9A7399C-CE3E-469D-9D36-397D1C59B7EA}" type="presParOf" srcId="{745BE533-7B20-4645-B523-CBD1AA1358E9}" destId="{8FD5A6A4-09AD-4610-913D-0877C7A25D45}" srcOrd="0" destOrd="0" presId="urn:microsoft.com/office/officeart/2005/8/layout/hList6"/>
    <dgm:cxn modelId="{3DEC55CD-E79E-4CFA-9FE4-F59E3939EB64}" type="presParOf" srcId="{745BE533-7B20-4645-B523-CBD1AA1358E9}" destId="{18D371D2-C4F0-468A-9C58-C2862F0C0F50}" srcOrd="1" destOrd="0" presId="urn:microsoft.com/office/officeart/2005/8/layout/hList6"/>
    <dgm:cxn modelId="{22090241-B33D-473C-9044-94F0225959C6}" type="presParOf" srcId="{745BE533-7B20-4645-B523-CBD1AA1358E9}" destId="{7E5C7B20-2AE8-48BB-A6FC-0C4FF3A0035A}" srcOrd="2" destOrd="0" presId="urn:microsoft.com/office/officeart/2005/8/layout/hList6"/>
    <dgm:cxn modelId="{B8FDEA54-FB1E-4D0B-9A2F-B833D26B9EB9}" type="presParOf" srcId="{745BE533-7B20-4645-B523-CBD1AA1358E9}" destId="{186B1C99-F211-40B8-B05F-42A60A9E0505}" srcOrd="3" destOrd="0" presId="urn:microsoft.com/office/officeart/2005/8/layout/hList6"/>
    <dgm:cxn modelId="{79F089E1-13C0-45EE-AC37-66D83B8CA147}" type="presParOf" srcId="{745BE533-7B20-4645-B523-CBD1AA1358E9}" destId="{417E9832-FA74-4FC0-924E-915F882144B5}" srcOrd="4" destOrd="0" presId="urn:microsoft.com/office/officeart/2005/8/layout/hList6"/>
    <dgm:cxn modelId="{F3E4CC77-0A67-4191-8BE3-B849B8D2C479}" type="presParOf" srcId="{745BE533-7B20-4645-B523-CBD1AA1358E9}" destId="{68242208-566F-4E9B-95BF-140A5383FC71}" srcOrd="5" destOrd="0" presId="urn:microsoft.com/office/officeart/2005/8/layout/hList6"/>
    <dgm:cxn modelId="{1518A451-62B4-495F-AAEC-782426364098}" type="presParOf" srcId="{745BE533-7B20-4645-B523-CBD1AA1358E9}" destId="{F9F3F94D-83F2-4AD0-8409-CC4C6128F937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492DE7C-4735-42F3-B68B-E724CD3754EC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FC92906-0F42-449C-B405-F4CD1B68DAA4}">
      <dgm:prSet phldrT="[Текст]" custT="1"/>
      <dgm:spPr/>
      <dgm:t>
        <a:bodyPr/>
        <a:lstStyle/>
        <a:p>
          <a:r>
            <a:rPr lang="ru-RU" sz="1400" dirty="0"/>
            <a:t>В 2018 году были объединены администрации района и административного центра (МО «Ильинское»)</a:t>
          </a:r>
        </a:p>
      </dgm:t>
    </dgm:pt>
    <dgm:pt modelId="{A3C35853-0743-4794-8018-A26B43492971}" type="parTrans" cxnId="{611CD136-E2DB-4B67-BADD-5E200F6DB02D}">
      <dgm:prSet/>
      <dgm:spPr/>
      <dgm:t>
        <a:bodyPr/>
        <a:lstStyle/>
        <a:p>
          <a:endParaRPr lang="ru-RU" sz="1400"/>
        </a:p>
      </dgm:t>
    </dgm:pt>
    <dgm:pt modelId="{99D9DFE0-A225-4DDD-99A7-4D71F3E59683}" type="sibTrans" cxnId="{611CD136-E2DB-4B67-BADD-5E200F6DB02D}">
      <dgm:prSet/>
      <dgm:spPr/>
      <dgm:t>
        <a:bodyPr/>
        <a:lstStyle/>
        <a:p>
          <a:endParaRPr lang="ru-RU" sz="1400"/>
        </a:p>
      </dgm:t>
    </dgm:pt>
    <dgm:pt modelId="{25DD79F7-7FDC-4A5C-A6B4-9A71897A1A45}">
      <dgm:prSet custT="1"/>
      <dgm:spPr/>
      <dgm:t>
        <a:bodyPr/>
        <a:lstStyle/>
        <a:p>
          <a:r>
            <a:rPr lang="ru-RU" sz="1400" dirty="0"/>
            <a:t>В 2015 – 2019 годах район поддерживал сельские поселения («вкладывались в периферию»)</a:t>
          </a:r>
        </a:p>
      </dgm:t>
    </dgm:pt>
    <dgm:pt modelId="{209F93D7-CB4B-4D01-A12B-B2CE129459A9}" type="parTrans" cxnId="{AAE74CA5-D2F1-44ED-B529-44E44F503BED}">
      <dgm:prSet/>
      <dgm:spPr/>
      <dgm:t>
        <a:bodyPr/>
        <a:lstStyle/>
        <a:p>
          <a:endParaRPr lang="ru-RU" sz="1400"/>
        </a:p>
      </dgm:t>
    </dgm:pt>
    <dgm:pt modelId="{38D05145-F296-408B-BC57-80CC26CC4325}" type="sibTrans" cxnId="{AAE74CA5-D2F1-44ED-B529-44E44F503BED}">
      <dgm:prSet/>
      <dgm:spPr/>
      <dgm:t>
        <a:bodyPr/>
        <a:lstStyle/>
        <a:p>
          <a:endParaRPr lang="ru-RU" sz="1400"/>
        </a:p>
      </dgm:t>
    </dgm:pt>
    <dgm:pt modelId="{1144B334-6F8D-4245-ADC5-1558A3E2709F}">
      <dgm:prSet custT="1"/>
      <dgm:spPr/>
      <dgm:t>
        <a:bodyPr/>
        <a:lstStyle/>
        <a:p>
          <a:r>
            <a:rPr lang="ru-RU" sz="1400" dirty="0"/>
            <a:t>Финансирование по плану социально-экономического развития округа разбили по поселениям</a:t>
          </a:r>
        </a:p>
      </dgm:t>
    </dgm:pt>
    <dgm:pt modelId="{F53CFDA6-77E8-4DA3-9822-72AB13008224}" type="parTrans" cxnId="{FF23F3A8-5DD8-4B1F-9388-7352C18A8367}">
      <dgm:prSet/>
      <dgm:spPr/>
      <dgm:t>
        <a:bodyPr/>
        <a:lstStyle/>
        <a:p>
          <a:endParaRPr lang="ru-RU" sz="1400"/>
        </a:p>
      </dgm:t>
    </dgm:pt>
    <dgm:pt modelId="{F16E4D80-50C1-40F4-A038-E2A52FE955B2}" type="sibTrans" cxnId="{FF23F3A8-5DD8-4B1F-9388-7352C18A8367}">
      <dgm:prSet/>
      <dgm:spPr/>
      <dgm:t>
        <a:bodyPr/>
        <a:lstStyle/>
        <a:p>
          <a:endParaRPr lang="ru-RU" sz="1400"/>
        </a:p>
      </dgm:t>
    </dgm:pt>
    <dgm:pt modelId="{4434B6E7-D8A9-4EDA-9B25-639A5A6388F7}">
      <dgm:prSet custT="1"/>
      <dgm:spPr/>
      <dgm:t>
        <a:bodyPr/>
        <a:lstStyle/>
        <a:p>
          <a:r>
            <a:rPr lang="ru-RU" sz="1400" dirty="0"/>
            <a:t>Под протокол согласовали с главами административную конструкцию функционирования округа</a:t>
          </a:r>
        </a:p>
      </dgm:t>
    </dgm:pt>
    <dgm:pt modelId="{FECC759A-162E-42C6-969B-CFCC6DC43693}" type="parTrans" cxnId="{8BE9DAB8-761C-46E9-9C96-99666F66C64A}">
      <dgm:prSet/>
      <dgm:spPr/>
      <dgm:t>
        <a:bodyPr/>
        <a:lstStyle/>
        <a:p>
          <a:endParaRPr lang="ru-RU" sz="1400"/>
        </a:p>
      </dgm:t>
    </dgm:pt>
    <dgm:pt modelId="{9B2944CF-31CB-458F-8981-03FBE2C97E9E}" type="sibTrans" cxnId="{8BE9DAB8-761C-46E9-9C96-99666F66C64A}">
      <dgm:prSet/>
      <dgm:spPr/>
      <dgm:t>
        <a:bodyPr/>
        <a:lstStyle/>
        <a:p>
          <a:endParaRPr lang="ru-RU" sz="1400"/>
        </a:p>
      </dgm:t>
    </dgm:pt>
    <dgm:pt modelId="{1358690C-4697-4BE3-BC84-B4F5D39C5EC8}">
      <dgm:prSet custT="1"/>
      <dgm:spPr/>
      <dgm:t>
        <a:bodyPr/>
        <a:lstStyle/>
        <a:p>
          <a:r>
            <a:rPr lang="ru-RU" sz="1400" dirty="0"/>
            <a:t>Привлекли оппозицию к широкому обсуждению вопроса объединения</a:t>
          </a:r>
        </a:p>
      </dgm:t>
    </dgm:pt>
    <dgm:pt modelId="{E3B92A3C-4CF2-401C-BE7F-6D39D3835752}" type="parTrans" cxnId="{AA4E63AF-8238-46BE-9196-9C84C60C00F3}">
      <dgm:prSet/>
      <dgm:spPr/>
      <dgm:t>
        <a:bodyPr/>
        <a:lstStyle/>
        <a:p>
          <a:endParaRPr lang="ru-RU" sz="1400"/>
        </a:p>
      </dgm:t>
    </dgm:pt>
    <dgm:pt modelId="{C4395912-D473-4C0F-845A-C221C1A34906}" type="sibTrans" cxnId="{AA4E63AF-8238-46BE-9196-9C84C60C00F3}">
      <dgm:prSet/>
      <dgm:spPr/>
      <dgm:t>
        <a:bodyPr/>
        <a:lstStyle/>
        <a:p>
          <a:endParaRPr lang="ru-RU" sz="1400"/>
        </a:p>
      </dgm:t>
    </dgm:pt>
    <dgm:pt modelId="{0CE5F065-BC72-46FD-BDF1-DD530AF936F5}" type="pres">
      <dgm:prSet presAssocID="{3492DE7C-4735-42F3-B68B-E724CD3754EC}" presName="CompostProcess" presStyleCnt="0">
        <dgm:presLayoutVars>
          <dgm:dir/>
          <dgm:resizeHandles val="exact"/>
        </dgm:presLayoutVars>
      </dgm:prSet>
      <dgm:spPr/>
    </dgm:pt>
    <dgm:pt modelId="{F703B3E4-9480-482C-AA65-A5B01D5BE428}" type="pres">
      <dgm:prSet presAssocID="{3492DE7C-4735-42F3-B68B-E724CD3754EC}" presName="arrow" presStyleLbl="bgShp" presStyleIdx="0" presStyleCnt="1"/>
      <dgm:spPr/>
    </dgm:pt>
    <dgm:pt modelId="{DDF3DDC0-FD6E-4586-9FC1-838CE4BD9084}" type="pres">
      <dgm:prSet presAssocID="{3492DE7C-4735-42F3-B68B-E724CD3754EC}" presName="linearProcess" presStyleCnt="0"/>
      <dgm:spPr/>
    </dgm:pt>
    <dgm:pt modelId="{DD54466A-D8E5-48FD-AE8F-7CB87945AA17}" type="pres">
      <dgm:prSet presAssocID="{DFC92906-0F42-449C-B405-F4CD1B68DAA4}" presName="textNode" presStyleLbl="node1" presStyleIdx="0" presStyleCnt="5">
        <dgm:presLayoutVars>
          <dgm:bulletEnabled val="1"/>
        </dgm:presLayoutVars>
      </dgm:prSet>
      <dgm:spPr/>
    </dgm:pt>
    <dgm:pt modelId="{39941AB7-0CAB-460D-BCDE-949A80423A63}" type="pres">
      <dgm:prSet presAssocID="{99D9DFE0-A225-4DDD-99A7-4D71F3E59683}" presName="sibTrans" presStyleCnt="0"/>
      <dgm:spPr/>
    </dgm:pt>
    <dgm:pt modelId="{79E8AF9F-18CD-4BF6-8620-912DE53EA21B}" type="pres">
      <dgm:prSet presAssocID="{25DD79F7-7FDC-4A5C-A6B4-9A71897A1A45}" presName="textNode" presStyleLbl="node1" presStyleIdx="1" presStyleCnt="5">
        <dgm:presLayoutVars>
          <dgm:bulletEnabled val="1"/>
        </dgm:presLayoutVars>
      </dgm:prSet>
      <dgm:spPr/>
    </dgm:pt>
    <dgm:pt modelId="{41521ED9-654D-4834-963D-E48E2C67521E}" type="pres">
      <dgm:prSet presAssocID="{38D05145-F296-408B-BC57-80CC26CC4325}" presName="sibTrans" presStyleCnt="0"/>
      <dgm:spPr/>
    </dgm:pt>
    <dgm:pt modelId="{8EEE693F-E198-4787-9C85-43A0FFC961B9}" type="pres">
      <dgm:prSet presAssocID="{1144B334-6F8D-4245-ADC5-1558A3E2709F}" presName="textNode" presStyleLbl="node1" presStyleIdx="2" presStyleCnt="5">
        <dgm:presLayoutVars>
          <dgm:bulletEnabled val="1"/>
        </dgm:presLayoutVars>
      </dgm:prSet>
      <dgm:spPr/>
    </dgm:pt>
    <dgm:pt modelId="{DB6BCD92-73CF-4F0F-A40D-4A597A878857}" type="pres">
      <dgm:prSet presAssocID="{F16E4D80-50C1-40F4-A038-E2A52FE955B2}" presName="sibTrans" presStyleCnt="0"/>
      <dgm:spPr/>
    </dgm:pt>
    <dgm:pt modelId="{BDAC8136-092D-4046-A239-E57B82D6E108}" type="pres">
      <dgm:prSet presAssocID="{4434B6E7-D8A9-4EDA-9B25-639A5A6388F7}" presName="textNode" presStyleLbl="node1" presStyleIdx="3" presStyleCnt="5">
        <dgm:presLayoutVars>
          <dgm:bulletEnabled val="1"/>
        </dgm:presLayoutVars>
      </dgm:prSet>
      <dgm:spPr/>
    </dgm:pt>
    <dgm:pt modelId="{F729D767-FF2F-4CBF-9F4A-5C90E9BFF696}" type="pres">
      <dgm:prSet presAssocID="{9B2944CF-31CB-458F-8981-03FBE2C97E9E}" presName="sibTrans" presStyleCnt="0"/>
      <dgm:spPr/>
    </dgm:pt>
    <dgm:pt modelId="{CC729D85-1661-47C8-AC01-1A792A517F49}" type="pres">
      <dgm:prSet presAssocID="{1358690C-4697-4BE3-BC84-B4F5D39C5EC8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FFEF330F-8E59-4AD0-82DE-8CE8DFFB2D86}" type="presOf" srcId="{3492DE7C-4735-42F3-B68B-E724CD3754EC}" destId="{0CE5F065-BC72-46FD-BDF1-DD530AF936F5}" srcOrd="0" destOrd="0" presId="urn:microsoft.com/office/officeart/2005/8/layout/hProcess9"/>
    <dgm:cxn modelId="{2CC26D23-3CA3-4F77-A906-B6F2B9336620}" type="presOf" srcId="{1144B334-6F8D-4245-ADC5-1558A3E2709F}" destId="{8EEE693F-E198-4787-9C85-43A0FFC961B9}" srcOrd="0" destOrd="0" presId="urn:microsoft.com/office/officeart/2005/8/layout/hProcess9"/>
    <dgm:cxn modelId="{611CD136-E2DB-4B67-BADD-5E200F6DB02D}" srcId="{3492DE7C-4735-42F3-B68B-E724CD3754EC}" destId="{DFC92906-0F42-449C-B405-F4CD1B68DAA4}" srcOrd="0" destOrd="0" parTransId="{A3C35853-0743-4794-8018-A26B43492971}" sibTransId="{99D9DFE0-A225-4DDD-99A7-4D71F3E59683}"/>
    <dgm:cxn modelId="{F244D84D-75D6-4AD9-B2ED-DF59F0A8D0F8}" type="presOf" srcId="{DFC92906-0F42-449C-B405-F4CD1B68DAA4}" destId="{DD54466A-D8E5-48FD-AE8F-7CB87945AA17}" srcOrd="0" destOrd="0" presId="urn:microsoft.com/office/officeart/2005/8/layout/hProcess9"/>
    <dgm:cxn modelId="{3180A14E-E29A-474B-B08C-1A9A42C34053}" type="presOf" srcId="{25DD79F7-7FDC-4A5C-A6B4-9A71897A1A45}" destId="{79E8AF9F-18CD-4BF6-8620-912DE53EA21B}" srcOrd="0" destOrd="0" presId="urn:microsoft.com/office/officeart/2005/8/layout/hProcess9"/>
    <dgm:cxn modelId="{D7A04995-02EA-4AEE-9D80-3E1D078D35DD}" type="presOf" srcId="{1358690C-4697-4BE3-BC84-B4F5D39C5EC8}" destId="{CC729D85-1661-47C8-AC01-1A792A517F49}" srcOrd="0" destOrd="0" presId="urn:microsoft.com/office/officeart/2005/8/layout/hProcess9"/>
    <dgm:cxn modelId="{AAE74CA5-D2F1-44ED-B529-44E44F503BED}" srcId="{3492DE7C-4735-42F3-B68B-E724CD3754EC}" destId="{25DD79F7-7FDC-4A5C-A6B4-9A71897A1A45}" srcOrd="1" destOrd="0" parTransId="{209F93D7-CB4B-4D01-A12B-B2CE129459A9}" sibTransId="{38D05145-F296-408B-BC57-80CC26CC4325}"/>
    <dgm:cxn modelId="{FF23F3A8-5DD8-4B1F-9388-7352C18A8367}" srcId="{3492DE7C-4735-42F3-B68B-E724CD3754EC}" destId="{1144B334-6F8D-4245-ADC5-1558A3E2709F}" srcOrd="2" destOrd="0" parTransId="{F53CFDA6-77E8-4DA3-9822-72AB13008224}" sibTransId="{F16E4D80-50C1-40F4-A038-E2A52FE955B2}"/>
    <dgm:cxn modelId="{AA4E63AF-8238-46BE-9196-9C84C60C00F3}" srcId="{3492DE7C-4735-42F3-B68B-E724CD3754EC}" destId="{1358690C-4697-4BE3-BC84-B4F5D39C5EC8}" srcOrd="4" destOrd="0" parTransId="{E3B92A3C-4CF2-401C-BE7F-6D39D3835752}" sibTransId="{C4395912-D473-4C0F-845A-C221C1A34906}"/>
    <dgm:cxn modelId="{8BE9DAB8-761C-46E9-9C96-99666F66C64A}" srcId="{3492DE7C-4735-42F3-B68B-E724CD3754EC}" destId="{4434B6E7-D8A9-4EDA-9B25-639A5A6388F7}" srcOrd="3" destOrd="0" parTransId="{FECC759A-162E-42C6-969B-CFCC6DC43693}" sibTransId="{9B2944CF-31CB-458F-8981-03FBE2C97E9E}"/>
    <dgm:cxn modelId="{255374F6-987E-4666-852B-E559633BBF03}" type="presOf" srcId="{4434B6E7-D8A9-4EDA-9B25-639A5A6388F7}" destId="{BDAC8136-092D-4046-A239-E57B82D6E108}" srcOrd="0" destOrd="0" presId="urn:microsoft.com/office/officeart/2005/8/layout/hProcess9"/>
    <dgm:cxn modelId="{031C769C-7456-4B00-BE4C-E3B09F49B0B8}" type="presParOf" srcId="{0CE5F065-BC72-46FD-BDF1-DD530AF936F5}" destId="{F703B3E4-9480-482C-AA65-A5B01D5BE428}" srcOrd="0" destOrd="0" presId="urn:microsoft.com/office/officeart/2005/8/layout/hProcess9"/>
    <dgm:cxn modelId="{619EEC61-891A-4853-9E12-B270C4C57007}" type="presParOf" srcId="{0CE5F065-BC72-46FD-BDF1-DD530AF936F5}" destId="{DDF3DDC0-FD6E-4586-9FC1-838CE4BD9084}" srcOrd="1" destOrd="0" presId="urn:microsoft.com/office/officeart/2005/8/layout/hProcess9"/>
    <dgm:cxn modelId="{763D9C6B-BF6C-498F-9280-3AD7902D54F9}" type="presParOf" srcId="{DDF3DDC0-FD6E-4586-9FC1-838CE4BD9084}" destId="{DD54466A-D8E5-48FD-AE8F-7CB87945AA17}" srcOrd="0" destOrd="0" presId="urn:microsoft.com/office/officeart/2005/8/layout/hProcess9"/>
    <dgm:cxn modelId="{0A774AA1-81AD-46A8-BC28-05FE51FFEF84}" type="presParOf" srcId="{DDF3DDC0-FD6E-4586-9FC1-838CE4BD9084}" destId="{39941AB7-0CAB-460D-BCDE-949A80423A63}" srcOrd="1" destOrd="0" presId="urn:microsoft.com/office/officeart/2005/8/layout/hProcess9"/>
    <dgm:cxn modelId="{0973496C-AFDD-4568-9811-150885AF4AAB}" type="presParOf" srcId="{DDF3DDC0-FD6E-4586-9FC1-838CE4BD9084}" destId="{79E8AF9F-18CD-4BF6-8620-912DE53EA21B}" srcOrd="2" destOrd="0" presId="urn:microsoft.com/office/officeart/2005/8/layout/hProcess9"/>
    <dgm:cxn modelId="{A94CB1F7-689D-4D23-9386-16C51FEFE039}" type="presParOf" srcId="{DDF3DDC0-FD6E-4586-9FC1-838CE4BD9084}" destId="{41521ED9-654D-4834-963D-E48E2C67521E}" srcOrd="3" destOrd="0" presId="urn:microsoft.com/office/officeart/2005/8/layout/hProcess9"/>
    <dgm:cxn modelId="{B8469F46-3215-4D9A-B541-B6946DD651CD}" type="presParOf" srcId="{DDF3DDC0-FD6E-4586-9FC1-838CE4BD9084}" destId="{8EEE693F-E198-4787-9C85-43A0FFC961B9}" srcOrd="4" destOrd="0" presId="urn:microsoft.com/office/officeart/2005/8/layout/hProcess9"/>
    <dgm:cxn modelId="{95EBB5BD-A6C5-47A1-BE23-CEBE828C6C1F}" type="presParOf" srcId="{DDF3DDC0-FD6E-4586-9FC1-838CE4BD9084}" destId="{DB6BCD92-73CF-4F0F-A40D-4A597A878857}" srcOrd="5" destOrd="0" presId="urn:microsoft.com/office/officeart/2005/8/layout/hProcess9"/>
    <dgm:cxn modelId="{E4EB66DD-DBBD-4E86-90E8-5B05C0E170A3}" type="presParOf" srcId="{DDF3DDC0-FD6E-4586-9FC1-838CE4BD9084}" destId="{BDAC8136-092D-4046-A239-E57B82D6E108}" srcOrd="6" destOrd="0" presId="urn:microsoft.com/office/officeart/2005/8/layout/hProcess9"/>
    <dgm:cxn modelId="{91F1F0C9-2ED7-43B7-BC05-05CD0642BB51}" type="presParOf" srcId="{DDF3DDC0-FD6E-4586-9FC1-838CE4BD9084}" destId="{F729D767-FF2F-4CBF-9F4A-5C90E9BFF696}" srcOrd="7" destOrd="0" presId="urn:microsoft.com/office/officeart/2005/8/layout/hProcess9"/>
    <dgm:cxn modelId="{CFA493C7-5825-4A58-889D-FB925FAF3EF7}" type="presParOf" srcId="{DDF3DDC0-FD6E-4586-9FC1-838CE4BD9084}" destId="{CC729D85-1661-47C8-AC01-1A792A517F49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492DE7C-4735-42F3-B68B-E724CD3754EC}" type="doc">
      <dgm:prSet loTypeId="urn:microsoft.com/office/officeart/2005/8/layout/hProcess9" loCatId="process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DFC92906-0F42-449C-B405-F4CD1B68DAA4}">
      <dgm:prSet phldrT="[Текст]" custT="1"/>
      <dgm:spPr/>
      <dgm:t>
        <a:bodyPr/>
        <a:lstStyle/>
        <a:p>
          <a:r>
            <a:rPr lang="ru-RU" sz="1400" dirty="0"/>
            <a:t>Отсутствие утвержденных параметров поддержки муниципальных округов (на апрель 2020 года)</a:t>
          </a:r>
        </a:p>
      </dgm:t>
    </dgm:pt>
    <dgm:pt modelId="{A3C35853-0743-4794-8018-A26B43492971}" type="parTrans" cxnId="{611CD136-E2DB-4B67-BADD-5E200F6DB02D}">
      <dgm:prSet/>
      <dgm:spPr/>
      <dgm:t>
        <a:bodyPr/>
        <a:lstStyle/>
        <a:p>
          <a:endParaRPr lang="ru-RU" sz="1400"/>
        </a:p>
      </dgm:t>
    </dgm:pt>
    <dgm:pt modelId="{99D9DFE0-A225-4DDD-99A7-4D71F3E59683}" type="sibTrans" cxnId="{611CD136-E2DB-4B67-BADD-5E200F6DB02D}">
      <dgm:prSet/>
      <dgm:spPr/>
      <dgm:t>
        <a:bodyPr/>
        <a:lstStyle/>
        <a:p>
          <a:endParaRPr lang="ru-RU" sz="1400"/>
        </a:p>
      </dgm:t>
    </dgm:pt>
    <dgm:pt modelId="{116D47C0-F376-4CD7-B5D4-1B847879B10B}">
      <dgm:prSet custT="1"/>
      <dgm:spPr/>
      <dgm:t>
        <a:bodyPr/>
        <a:lstStyle/>
        <a:p>
          <a:r>
            <a:rPr lang="ru-RU" sz="1400"/>
            <a:t>Неполные составы советов депутатов</a:t>
          </a:r>
          <a:endParaRPr lang="ru-RU" sz="1400" dirty="0"/>
        </a:p>
      </dgm:t>
    </dgm:pt>
    <dgm:pt modelId="{B18C5FD8-86FF-4759-8278-C61F4959EFF2}" type="parTrans" cxnId="{5611BDA1-37B7-44C1-A2D3-1E76C6911A5F}">
      <dgm:prSet/>
      <dgm:spPr/>
      <dgm:t>
        <a:bodyPr/>
        <a:lstStyle/>
        <a:p>
          <a:endParaRPr lang="ru-RU" sz="1400"/>
        </a:p>
      </dgm:t>
    </dgm:pt>
    <dgm:pt modelId="{444F2B44-C6DA-4DF3-AB89-847B547B1625}" type="sibTrans" cxnId="{5611BDA1-37B7-44C1-A2D3-1E76C6911A5F}">
      <dgm:prSet/>
      <dgm:spPr/>
      <dgm:t>
        <a:bodyPr/>
        <a:lstStyle/>
        <a:p>
          <a:endParaRPr lang="ru-RU" sz="1400"/>
        </a:p>
      </dgm:t>
    </dgm:pt>
    <dgm:pt modelId="{E356A5EF-0B8D-4937-95B6-E8CD993D2D17}">
      <dgm:prSet custT="1"/>
      <dgm:spPr/>
      <dgm:t>
        <a:bodyPr/>
        <a:lstStyle/>
        <a:p>
          <a:r>
            <a:rPr lang="ru-RU" sz="1400" dirty="0"/>
            <a:t>Распространение короновирусной инфекции (ограничения на общественные мероприятия)</a:t>
          </a:r>
        </a:p>
      </dgm:t>
    </dgm:pt>
    <dgm:pt modelId="{4461977A-CE93-4A9D-A162-E5E3B965AA63}" type="parTrans" cxnId="{9EF3E6CE-A5D4-4AB9-8D92-54DE3ABDC158}">
      <dgm:prSet/>
      <dgm:spPr/>
      <dgm:t>
        <a:bodyPr/>
        <a:lstStyle/>
        <a:p>
          <a:endParaRPr lang="ru-RU" sz="1400"/>
        </a:p>
      </dgm:t>
    </dgm:pt>
    <dgm:pt modelId="{650040AF-9246-4413-8DDD-FE8FC60E36C4}" type="sibTrans" cxnId="{9EF3E6CE-A5D4-4AB9-8D92-54DE3ABDC158}">
      <dgm:prSet/>
      <dgm:spPr/>
      <dgm:t>
        <a:bodyPr/>
        <a:lstStyle/>
        <a:p>
          <a:endParaRPr lang="ru-RU" sz="1400"/>
        </a:p>
      </dgm:t>
    </dgm:pt>
    <dgm:pt modelId="{591AEB5F-FF90-48D3-B8BD-5C68DB82764D}">
      <dgm:prSet custT="1"/>
      <dgm:spPr/>
      <dgm:t>
        <a:bodyPr/>
        <a:lstStyle/>
        <a:p>
          <a:r>
            <a:rPr lang="ru-RU" sz="1400"/>
            <a:t>Принятие областного закона о создании округа на сентябрьской сессии (выборы – 22.12.2020, очень поздно)</a:t>
          </a:r>
          <a:endParaRPr lang="ru-RU" sz="1400" dirty="0"/>
        </a:p>
      </dgm:t>
    </dgm:pt>
    <dgm:pt modelId="{7CB89F7C-B71E-4DEA-B0A5-934D4E6B6EAD}" type="parTrans" cxnId="{89FABC68-89E2-4FA9-8544-032577436629}">
      <dgm:prSet/>
      <dgm:spPr/>
      <dgm:t>
        <a:bodyPr/>
        <a:lstStyle/>
        <a:p>
          <a:endParaRPr lang="ru-RU" sz="1400"/>
        </a:p>
      </dgm:t>
    </dgm:pt>
    <dgm:pt modelId="{A438A162-0663-49C7-A0EF-A068BC207EBA}" type="sibTrans" cxnId="{89FABC68-89E2-4FA9-8544-032577436629}">
      <dgm:prSet/>
      <dgm:spPr/>
      <dgm:t>
        <a:bodyPr/>
        <a:lstStyle/>
        <a:p>
          <a:endParaRPr lang="ru-RU" sz="1400"/>
        </a:p>
      </dgm:t>
    </dgm:pt>
    <dgm:pt modelId="{E3D6B839-8B48-4F40-98B6-AB2B4B86DBFD}">
      <dgm:prSet custT="1"/>
      <dgm:spPr/>
      <dgm:t>
        <a:bodyPr/>
        <a:lstStyle/>
        <a:p>
          <a:r>
            <a:rPr lang="ru-RU" sz="1400"/>
            <a:t>В собрание депутатов округа прошли противники преобразования</a:t>
          </a:r>
          <a:endParaRPr lang="ru-RU" sz="1400" dirty="0"/>
        </a:p>
      </dgm:t>
    </dgm:pt>
    <dgm:pt modelId="{E0204329-4E7C-4DCC-822E-8A2DAA00AEBF}" type="parTrans" cxnId="{DA1C5940-C025-424A-B476-2F54FEB0E848}">
      <dgm:prSet/>
      <dgm:spPr/>
      <dgm:t>
        <a:bodyPr/>
        <a:lstStyle/>
        <a:p>
          <a:endParaRPr lang="ru-RU" sz="1400"/>
        </a:p>
      </dgm:t>
    </dgm:pt>
    <dgm:pt modelId="{7CD93DD2-C2C2-40CB-AB49-135FE110DB4A}" type="sibTrans" cxnId="{DA1C5940-C025-424A-B476-2F54FEB0E848}">
      <dgm:prSet/>
      <dgm:spPr/>
      <dgm:t>
        <a:bodyPr/>
        <a:lstStyle/>
        <a:p>
          <a:endParaRPr lang="ru-RU" sz="1400"/>
        </a:p>
      </dgm:t>
    </dgm:pt>
    <dgm:pt modelId="{0CE5F065-BC72-46FD-BDF1-DD530AF936F5}" type="pres">
      <dgm:prSet presAssocID="{3492DE7C-4735-42F3-B68B-E724CD3754EC}" presName="CompostProcess" presStyleCnt="0">
        <dgm:presLayoutVars>
          <dgm:dir/>
          <dgm:resizeHandles val="exact"/>
        </dgm:presLayoutVars>
      </dgm:prSet>
      <dgm:spPr/>
    </dgm:pt>
    <dgm:pt modelId="{F703B3E4-9480-482C-AA65-A5B01D5BE428}" type="pres">
      <dgm:prSet presAssocID="{3492DE7C-4735-42F3-B68B-E724CD3754EC}" presName="arrow" presStyleLbl="bgShp" presStyleIdx="0" presStyleCnt="1"/>
      <dgm:spPr/>
    </dgm:pt>
    <dgm:pt modelId="{DDF3DDC0-FD6E-4586-9FC1-838CE4BD9084}" type="pres">
      <dgm:prSet presAssocID="{3492DE7C-4735-42F3-B68B-E724CD3754EC}" presName="linearProcess" presStyleCnt="0"/>
      <dgm:spPr/>
    </dgm:pt>
    <dgm:pt modelId="{DD54466A-D8E5-48FD-AE8F-7CB87945AA17}" type="pres">
      <dgm:prSet presAssocID="{DFC92906-0F42-449C-B405-F4CD1B68DAA4}" presName="textNode" presStyleLbl="node1" presStyleIdx="0" presStyleCnt="5">
        <dgm:presLayoutVars>
          <dgm:bulletEnabled val="1"/>
        </dgm:presLayoutVars>
      </dgm:prSet>
      <dgm:spPr/>
    </dgm:pt>
    <dgm:pt modelId="{39941AB7-0CAB-460D-BCDE-949A80423A63}" type="pres">
      <dgm:prSet presAssocID="{99D9DFE0-A225-4DDD-99A7-4D71F3E59683}" presName="sibTrans" presStyleCnt="0"/>
      <dgm:spPr/>
    </dgm:pt>
    <dgm:pt modelId="{A3B7AD69-92D0-4339-8543-DFEA333529A2}" type="pres">
      <dgm:prSet presAssocID="{116D47C0-F376-4CD7-B5D4-1B847879B10B}" presName="textNode" presStyleLbl="node1" presStyleIdx="1" presStyleCnt="5">
        <dgm:presLayoutVars>
          <dgm:bulletEnabled val="1"/>
        </dgm:presLayoutVars>
      </dgm:prSet>
      <dgm:spPr/>
    </dgm:pt>
    <dgm:pt modelId="{D0F1D2A4-3EEE-44BB-AF4C-A38B1BD2EA38}" type="pres">
      <dgm:prSet presAssocID="{444F2B44-C6DA-4DF3-AB89-847B547B1625}" presName="sibTrans" presStyleCnt="0"/>
      <dgm:spPr/>
    </dgm:pt>
    <dgm:pt modelId="{8AA70E77-9EDA-456E-891F-C76D20C79385}" type="pres">
      <dgm:prSet presAssocID="{E356A5EF-0B8D-4937-95B6-E8CD993D2D17}" presName="textNode" presStyleLbl="node1" presStyleIdx="2" presStyleCnt="5">
        <dgm:presLayoutVars>
          <dgm:bulletEnabled val="1"/>
        </dgm:presLayoutVars>
      </dgm:prSet>
      <dgm:spPr/>
    </dgm:pt>
    <dgm:pt modelId="{AFE9C379-4D93-4C9A-876C-591DF0AEB6D2}" type="pres">
      <dgm:prSet presAssocID="{650040AF-9246-4413-8DDD-FE8FC60E36C4}" presName="sibTrans" presStyleCnt="0"/>
      <dgm:spPr/>
    </dgm:pt>
    <dgm:pt modelId="{9B12BA55-6DCF-4787-B08B-C8B4149BEB45}" type="pres">
      <dgm:prSet presAssocID="{591AEB5F-FF90-48D3-B8BD-5C68DB82764D}" presName="textNode" presStyleLbl="node1" presStyleIdx="3" presStyleCnt="5">
        <dgm:presLayoutVars>
          <dgm:bulletEnabled val="1"/>
        </dgm:presLayoutVars>
      </dgm:prSet>
      <dgm:spPr/>
    </dgm:pt>
    <dgm:pt modelId="{FBB860BF-727A-496E-A30F-D530BFF6CAE3}" type="pres">
      <dgm:prSet presAssocID="{A438A162-0663-49C7-A0EF-A068BC207EBA}" presName="sibTrans" presStyleCnt="0"/>
      <dgm:spPr/>
    </dgm:pt>
    <dgm:pt modelId="{247586C6-0435-40BA-8AED-C9AE984BFF78}" type="pres">
      <dgm:prSet presAssocID="{E3D6B839-8B48-4F40-98B6-AB2B4B86DBFD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FFEF330F-8E59-4AD0-82DE-8CE8DFFB2D86}" type="presOf" srcId="{3492DE7C-4735-42F3-B68B-E724CD3754EC}" destId="{0CE5F065-BC72-46FD-BDF1-DD530AF936F5}" srcOrd="0" destOrd="0" presId="urn:microsoft.com/office/officeart/2005/8/layout/hProcess9"/>
    <dgm:cxn modelId="{5A021119-D9EE-49FC-9C16-A4722782BCB8}" type="presOf" srcId="{116D47C0-F376-4CD7-B5D4-1B847879B10B}" destId="{A3B7AD69-92D0-4339-8543-DFEA333529A2}" srcOrd="0" destOrd="0" presId="urn:microsoft.com/office/officeart/2005/8/layout/hProcess9"/>
    <dgm:cxn modelId="{0340F324-90F8-4354-8910-03CF9822125D}" type="presOf" srcId="{E3D6B839-8B48-4F40-98B6-AB2B4B86DBFD}" destId="{247586C6-0435-40BA-8AED-C9AE984BFF78}" srcOrd="0" destOrd="0" presId="urn:microsoft.com/office/officeart/2005/8/layout/hProcess9"/>
    <dgm:cxn modelId="{611CD136-E2DB-4B67-BADD-5E200F6DB02D}" srcId="{3492DE7C-4735-42F3-B68B-E724CD3754EC}" destId="{DFC92906-0F42-449C-B405-F4CD1B68DAA4}" srcOrd="0" destOrd="0" parTransId="{A3C35853-0743-4794-8018-A26B43492971}" sibTransId="{99D9DFE0-A225-4DDD-99A7-4D71F3E59683}"/>
    <dgm:cxn modelId="{DA1C5940-C025-424A-B476-2F54FEB0E848}" srcId="{3492DE7C-4735-42F3-B68B-E724CD3754EC}" destId="{E3D6B839-8B48-4F40-98B6-AB2B4B86DBFD}" srcOrd="4" destOrd="0" parTransId="{E0204329-4E7C-4DCC-822E-8A2DAA00AEBF}" sibTransId="{7CD93DD2-C2C2-40CB-AB49-135FE110DB4A}"/>
    <dgm:cxn modelId="{89FABC68-89E2-4FA9-8544-032577436629}" srcId="{3492DE7C-4735-42F3-B68B-E724CD3754EC}" destId="{591AEB5F-FF90-48D3-B8BD-5C68DB82764D}" srcOrd="3" destOrd="0" parTransId="{7CB89F7C-B71E-4DEA-B0A5-934D4E6B6EAD}" sibTransId="{A438A162-0663-49C7-A0EF-A068BC207EBA}"/>
    <dgm:cxn modelId="{F244D84D-75D6-4AD9-B2ED-DF59F0A8D0F8}" type="presOf" srcId="{DFC92906-0F42-449C-B405-F4CD1B68DAA4}" destId="{DD54466A-D8E5-48FD-AE8F-7CB87945AA17}" srcOrd="0" destOrd="0" presId="urn:microsoft.com/office/officeart/2005/8/layout/hProcess9"/>
    <dgm:cxn modelId="{2A742399-B3D7-4587-9174-5BB9AE944F40}" type="presOf" srcId="{591AEB5F-FF90-48D3-B8BD-5C68DB82764D}" destId="{9B12BA55-6DCF-4787-B08B-C8B4149BEB45}" srcOrd="0" destOrd="0" presId="urn:microsoft.com/office/officeart/2005/8/layout/hProcess9"/>
    <dgm:cxn modelId="{5611BDA1-37B7-44C1-A2D3-1E76C6911A5F}" srcId="{3492DE7C-4735-42F3-B68B-E724CD3754EC}" destId="{116D47C0-F376-4CD7-B5D4-1B847879B10B}" srcOrd="1" destOrd="0" parTransId="{B18C5FD8-86FF-4759-8278-C61F4959EFF2}" sibTransId="{444F2B44-C6DA-4DF3-AB89-847B547B1625}"/>
    <dgm:cxn modelId="{51A52AAD-8632-4FAD-BB18-7CB676BCE40F}" type="presOf" srcId="{E356A5EF-0B8D-4937-95B6-E8CD993D2D17}" destId="{8AA70E77-9EDA-456E-891F-C76D20C79385}" srcOrd="0" destOrd="0" presId="urn:microsoft.com/office/officeart/2005/8/layout/hProcess9"/>
    <dgm:cxn modelId="{9EF3E6CE-A5D4-4AB9-8D92-54DE3ABDC158}" srcId="{3492DE7C-4735-42F3-B68B-E724CD3754EC}" destId="{E356A5EF-0B8D-4937-95B6-E8CD993D2D17}" srcOrd="2" destOrd="0" parTransId="{4461977A-CE93-4A9D-A162-E5E3B965AA63}" sibTransId="{650040AF-9246-4413-8DDD-FE8FC60E36C4}"/>
    <dgm:cxn modelId="{031C769C-7456-4B00-BE4C-E3B09F49B0B8}" type="presParOf" srcId="{0CE5F065-BC72-46FD-BDF1-DD530AF936F5}" destId="{F703B3E4-9480-482C-AA65-A5B01D5BE428}" srcOrd="0" destOrd="0" presId="urn:microsoft.com/office/officeart/2005/8/layout/hProcess9"/>
    <dgm:cxn modelId="{619EEC61-891A-4853-9E12-B270C4C57007}" type="presParOf" srcId="{0CE5F065-BC72-46FD-BDF1-DD530AF936F5}" destId="{DDF3DDC0-FD6E-4586-9FC1-838CE4BD9084}" srcOrd="1" destOrd="0" presId="urn:microsoft.com/office/officeart/2005/8/layout/hProcess9"/>
    <dgm:cxn modelId="{763D9C6B-BF6C-498F-9280-3AD7902D54F9}" type="presParOf" srcId="{DDF3DDC0-FD6E-4586-9FC1-838CE4BD9084}" destId="{DD54466A-D8E5-48FD-AE8F-7CB87945AA17}" srcOrd="0" destOrd="0" presId="urn:microsoft.com/office/officeart/2005/8/layout/hProcess9"/>
    <dgm:cxn modelId="{0A774AA1-81AD-46A8-BC28-05FE51FFEF84}" type="presParOf" srcId="{DDF3DDC0-FD6E-4586-9FC1-838CE4BD9084}" destId="{39941AB7-0CAB-460D-BCDE-949A80423A63}" srcOrd="1" destOrd="0" presId="urn:microsoft.com/office/officeart/2005/8/layout/hProcess9"/>
    <dgm:cxn modelId="{0F0AF29A-21C6-482E-8F3C-5463E8250AED}" type="presParOf" srcId="{DDF3DDC0-FD6E-4586-9FC1-838CE4BD9084}" destId="{A3B7AD69-92D0-4339-8543-DFEA333529A2}" srcOrd="2" destOrd="0" presId="urn:microsoft.com/office/officeart/2005/8/layout/hProcess9"/>
    <dgm:cxn modelId="{6F493711-5077-47C1-B21F-E955B21F0B9B}" type="presParOf" srcId="{DDF3DDC0-FD6E-4586-9FC1-838CE4BD9084}" destId="{D0F1D2A4-3EEE-44BB-AF4C-A38B1BD2EA38}" srcOrd="3" destOrd="0" presId="urn:microsoft.com/office/officeart/2005/8/layout/hProcess9"/>
    <dgm:cxn modelId="{65AD66B4-AE77-4EF8-A935-5D7BE9E8B366}" type="presParOf" srcId="{DDF3DDC0-FD6E-4586-9FC1-838CE4BD9084}" destId="{8AA70E77-9EDA-456E-891F-C76D20C79385}" srcOrd="4" destOrd="0" presId="urn:microsoft.com/office/officeart/2005/8/layout/hProcess9"/>
    <dgm:cxn modelId="{DB35013B-D44D-48E3-96B5-A8E2A999B942}" type="presParOf" srcId="{DDF3DDC0-FD6E-4586-9FC1-838CE4BD9084}" destId="{AFE9C379-4D93-4C9A-876C-591DF0AEB6D2}" srcOrd="5" destOrd="0" presId="urn:microsoft.com/office/officeart/2005/8/layout/hProcess9"/>
    <dgm:cxn modelId="{3F563AE1-C556-4DC1-8839-E3518A443EE3}" type="presParOf" srcId="{DDF3DDC0-FD6E-4586-9FC1-838CE4BD9084}" destId="{9B12BA55-6DCF-4787-B08B-C8B4149BEB45}" srcOrd="6" destOrd="0" presId="urn:microsoft.com/office/officeart/2005/8/layout/hProcess9"/>
    <dgm:cxn modelId="{3C423AF8-8A8D-4D18-A01C-D7C19EF8799B}" type="presParOf" srcId="{DDF3DDC0-FD6E-4586-9FC1-838CE4BD9084}" destId="{FBB860BF-727A-496E-A30F-D530BFF6CAE3}" srcOrd="7" destOrd="0" presId="urn:microsoft.com/office/officeart/2005/8/layout/hProcess9"/>
    <dgm:cxn modelId="{6ABC46DD-65EA-4F81-97E9-875A3A58FB18}" type="presParOf" srcId="{DDF3DDC0-FD6E-4586-9FC1-838CE4BD9084}" destId="{247586C6-0435-40BA-8AED-C9AE984BFF78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C970CE6-9E5A-4FC7-B93F-BC09CAE0129F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1C12D17-CEEC-41D7-9B88-845CD784A4D3}">
      <dgm:prSet phldrT="[Текст]" custT="1"/>
      <dgm:spPr/>
      <dgm:t>
        <a:bodyPr/>
        <a:lstStyle/>
        <a:p>
          <a:r>
            <a:rPr lang="ru-RU" sz="1800" b="1" dirty="0"/>
            <a:t>Утвержден и реализуется План социально-экономического развития Вилегодского муниципального округа</a:t>
          </a:r>
        </a:p>
      </dgm:t>
    </dgm:pt>
    <dgm:pt modelId="{EE99728D-FE4C-46CC-A4D6-7BCCA353145A}" type="parTrans" cxnId="{FFC5193B-F4E2-4104-B9C0-77AB4F0C67C3}">
      <dgm:prSet/>
      <dgm:spPr/>
      <dgm:t>
        <a:bodyPr/>
        <a:lstStyle/>
        <a:p>
          <a:endParaRPr lang="ru-RU" sz="4000"/>
        </a:p>
      </dgm:t>
    </dgm:pt>
    <dgm:pt modelId="{5FEB4A83-E8D7-4967-ADF3-80FBCA4CDDFC}" type="sibTrans" cxnId="{FFC5193B-F4E2-4104-B9C0-77AB4F0C67C3}">
      <dgm:prSet/>
      <dgm:spPr/>
      <dgm:t>
        <a:bodyPr/>
        <a:lstStyle/>
        <a:p>
          <a:endParaRPr lang="ru-RU" sz="4000"/>
        </a:p>
      </dgm:t>
    </dgm:pt>
    <dgm:pt modelId="{359DDDAE-C2A1-4CB8-A7B9-C6CC1A1CFC0C}">
      <dgm:prSet custT="1"/>
      <dgm:spPr/>
      <dgm:t>
        <a:bodyPr/>
        <a:lstStyle/>
        <a:p>
          <a:r>
            <a:rPr lang="ru-RU" sz="1800" b="1" dirty="0"/>
            <a:t>Доведено увеличенное финансирование на содержание органов местного самоуправления</a:t>
          </a:r>
        </a:p>
      </dgm:t>
    </dgm:pt>
    <dgm:pt modelId="{625869AD-0BF2-432D-984D-4ED9970C1995}" type="parTrans" cxnId="{D89AEBD3-8DD6-46B3-A262-843853ACC25B}">
      <dgm:prSet/>
      <dgm:spPr/>
      <dgm:t>
        <a:bodyPr/>
        <a:lstStyle/>
        <a:p>
          <a:endParaRPr lang="ru-RU" sz="4000"/>
        </a:p>
      </dgm:t>
    </dgm:pt>
    <dgm:pt modelId="{84784DA1-2373-438D-9F7B-5310E0DB47B4}" type="sibTrans" cxnId="{D89AEBD3-8DD6-46B3-A262-843853ACC25B}">
      <dgm:prSet/>
      <dgm:spPr/>
      <dgm:t>
        <a:bodyPr/>
        <a:lstStyle/>
        <a:p>
          <a:endParaRPr lang="ru-RU" sz="4000"/>
        </a:p>
      </dgm:t>
    </dgm:pt>
    <dgm:pt modelId="{970CFCE6-ADA1-47F5-9957-455FA68BAA87}">
      <dgm:prSet custT="1"/>
      <dgm:spPr/>
      <dgm:t>
        <a:bodyPr/>
        <a:lstStyle/>
        <a:p>
          <a:r>
            <a:rPr lang="ru-RU" sz="1800" b="1" dirty="0"/>
            <a:t>Обновлена организационная и штатная структура администрации</a:t>
          </a:r>
        </a:p>
      </dgm:t>
    </dgm:pt>
    <dgm:pt modelId="{49991210-BEC9-4B34-AE46-0B4D83614731}" type="parTrans" cxnId="{35930D3E-53B1-4232-A861-ABE72F0DCD84}">
      <dgm:prSet/>
      <dgm:spPr/>
      <dgm:t>
        <a:bodyPr/>
        <a:lstStyle/>
        <a:p>
          <a:endParaRPr lang="ru-RU" sz="4000"/>
        </a:p>
      </dgm:t>
    </dgm:pt>
    <dgm:pt modelId="{7B34F521-113E-4807-AB1E-AB1C2FBDC5A7}" type="sibTrans" cxnId="{35930D3E-53B1-4232-A861-ABE72F0DCD84}">
      <dgm:prSet/>
      <dgm:spPr/>
      <dgm:t>
        <a:bodyPr/>
        <a:lstStyle/>
        <a:p>
          <a:endParaRPr lang="ru-RU" sz="4000"/>
        </a:p>
      </dgm:t>
    </dgm:pt>
    <dgm:pt modelId="{9014F4D6-4EC6-4E52-87F3-9369578EDB35}">
      <dgm:prSet custT="1"/>
      <dgm:spPr/>
      <dgm:t>
        <a:bodyPr/>
        <a:lstStyle/>
        <a:p>
          <a:r>
            <a:rPr lang="ru-RU" sz="1800" b="1" dirty="0"/>
            <a:t>Созданы территориальные отделы в статусе юридических лиц (сохранилась власть «на местах»)</a:t>
          </a:r>
        </a:p>
      </dgm:t>
    </dgm:pt>
    <dgm:pt modelId="{F9C7B3B5-6847-42C2-B689-50ACB09A2E59}" type="parTrans" cxnId="{109C08A5-8704-4538-81F3-962BB773B3E9}">
      <dgm:prSet/>
      <dgm:spPr/>
      <dgm:t>
        <a:bodyPr/>
        <a:lstStyle/>
        <a:p>
          <a:endParaRPr lang="ru-RU" sz="4000"/>
        </a:p>
      </dgm:t>
    </dgm:pt>
    <dgm:pt modelId="{DE6AE22D-C856-49FE-83CD-2C1C7927EEE2}" type="sibTrans" cxnId="{109C08A5-8704-4538-81F3-962BB773B3E9}">
      <dgm:prSet/>
      <dgm:spPr/>
      <dgm:t>
        <a:bodyPr/>
        <a:lstStyle/>
        <a:p>
          <a:endParaRPr lang="ru-RU" sz="4000"/>
        </a:p>
      </dgm:t>
    </dgm:pt>
    <dgm:pt modelId="{BC984B77-411B-49B9-B72A-A9BDF660BBCA}">
      <dgm:prSet custT="1"/>
      <dgm:spPr/>
      <dgm:t>
        <a:bodyPr/>
        <a:lstStyle/>
        <a:p>
          <a:r>
            <a:rPr lang="ru-RU" sz="1800" b="1" dirty="0"/>
            <a:t>Сохранен кадровый потенциал ОМСУ</a:t>
          </a:r>
        </a:p>
      </dgm:t>
    </dgm:pt>
    <dgm:pt modelId="{0FB52C1B-89FA-4E99-A01B-3EF6A1381E11}" type="parTrans" cxnId="{61A19FF3-D884-4C67-A793-8D25F58F4151}">
      <dgm:prSet/>
      <dgm:spPr/>
      <dgm:t>
        <a:bodyPr/>
        <a:lstStyle/>
        <a:p>
          <a:endParaRPr lang="ru-RU" sz="4000"/>
        </a:p>
      </dgm:t>
    </dgm:pt>
    <dgm:pt modelId="{3E0F1FB2-5A15-473C-A49D-9A0F2B4F1F34}" type="sibTrans" cxnId="{61A19FF3-D884-4C67-A793-8D25F58F4151}">
      <dgm:prSet/>
      <dgm:spPr/>
      <dgm:t>
        <a:bodyPr/>
        <a:lstStyle/>
        <a:p>
          <a:endParaRPr lang="ru-RU" sz="4000"/>
        </a:p>
      </dgm:t>
    </dgm:pt>
    <dgm:pt modelId="{B2E32D4E-F92B-45F6-B9C3-B0BC7E144E2F}">
      <dgm:prSet custT="1"/>
      <dgm:spPr/>
      <dgm:t>
        <a:bodyPr/>
        <a:lstStyle/>
        <a:p>
          <a:r>
            <a:rPr lang="ru-RU" sz="1800" b="1" dirty="0"/>
            <a:t>Сохранена положительная динамика развития муниципального образования</a:t>
          </a:r>
        </a:p>
      </dgm:t>
    </dgm:pt>
    <dgm:pt modelId="{C991888C-70BE-4B9B-98CE-AC4E0C1DBB77}" type="parTrans" cxnId="{999CD3E4-A917-4979-828D-4FD195E433A6}">
      <dgm:prSet/>
      <dgm:spPr/>
      <dgm:t>
        <a:bodyPr/>
        <a:lstStyle/>
        <a:p>
          <a:endParaRPr lang="ru-RU" sz="4000"/>
        </a:p>
      </dgm:t>
    </dgm:pt>
    <dgm:pt modelId="{6AF4A308-32CF-4071-A620-D0FBF7656F61}" type="sibTrans" cxnId="{999CD3E4-A917-4979-828D-4FD195E433A6}">
      <dgm:prSet/>
      <dgm:spPr/>
      <dgm:t>
        <a:bodyPr/>
        <a:lstStyle/>
        <a:p>
          <a:endParaRPr lang="ru-RU" sz="4000"/>
        </a:p>
      </dgm:t>
    </dgm:pt>
    <dgm:pt modelId="{979FDE2E-900C-47A1-8945-9A17391639B6}" type="pres">
      <dgm:prSet presAssocID="{7C970CE6-9E5A-4FC7-B93F-BC09CAE0129F}" presName="Name0" presStyleCnt="0">
        <dgm:presLayoutVars>
          <dgm:dir/>
          <dgm:resizeHandles val="exact"/>
        </dgm:presLayoutVars>
      </dgm:prSet>
      <dgm:spPr/>
    </dgm:pt>
    <dgm:pt modelId="{096098EF-241A-4936-8D16-01DA20769307}" type="pres">
      <dgm:prSet presAssocID="{41C12D17-CEEC-41D7-9B88-845CD784A4D3}" presName="composite" presStyleCnt="0"/>
      <dgm:spPr/>
    </dgm:pt>
    <dgm:pt modelId="{95BDFC30-D30E-49B9-B95B-128EA3A8F997}" type="pres">
      <dgm:prSet presAssocID="{41C12D17-CEEC-41D7-9B88-845CD784A4D3}" presName="rect1" presStyleLbl="trAlignAcc1" presStyleIdx="0" presStyleCnt="6">
        <dgm:presLayoutVars>
          <dgm:bulletEnabled val="1"/>
        </dgm:presLayoutVars>
      </dgm:prSet>
      <dgm:spPr/>
    </dgm:pt>
    <dgm:pt modelId="{6806DC7F-CB63-4435-8FB9-E77C95C67220}" type="pres">
      <dgm:prSet presAssocID="{41C12D17-CEEC-41D7-9B88-845CD784A4D3}" presName="rect2" presStyleLbl="fgImgPlace1" presStyleIdx="0" presStyleCnt="6"/>
      <dgm:spPr>
        <a:blipFill dpi="0" rotWithShape="1">
          <a:blip xmlns:r="http://schemas.openxmlformats.org/officeDocument/2006/relationships" r:embed="rId1" cstate="hqprint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harpenSoften amount="5000"/>
                    </a14:imgEffect>
                    <a14:imgEffect>
                      <a14:brightnessContrast bright="5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1914" b="-57914"/>
          </a:stretch>
        </a:blipFill>
      </dgm:spPr>
    </dgm:pt>
    <dgm:pt modelId="{58DC8629-22BA-49D6-A76B-D77BFC920337}" type="pres">
      <dgm:prSet presAssocID="{5FEB4A83-E8D7-4967-ADF3-80FBCA4CDDFC}" presName="sibTrans" presStyleCnt="0"/>
      <dgm:spPr/>
    </dgm:pt>
    <dgm:pt modelId="{4141243C-0F4B-4125-99A1-634CF159CEC0}" type="pres">
      <dgm:prSet presAssocID="{359DDDAE-C2A1-4CB8-A7B9-C6CC1A1CFC0C}" presName="composite" presStyleCnt="0"/>
      <dgm:spPr/>
    </dgm:pt>
    <dgm:pt modelId="{3E1733FF-59CC-44B4-BAAA-3743381FE03E}" type="pres">
      <dgm:prSet presAssocID="{359DDDAE-C2A1-4CB8-A7B9-C6CC1A1CFC0C}" presName="rect1" presStyleLbl="trAlignAcc1" presStyleIdx="1" presStyleCnt="6">
        <dgm:presLayoutVars>
          <dgm:bulletEnabled val="1"/>
        </dgm:presLayoutVars>
      </dgm:prSet>
      <dgm:spPr/>
    </dgm:pt>
    <dgm:pt modelId="{C7143C16-E6AC-4956-A46C-1A4C29804433}" type="pres">
      <dgm:prSet presAssocID="{359DDDAE-C2A1-4CB8-A7B9-C6CC1A1CFC0C}" presName="rect2" presStyleLbl="fgImgPlace1" presStyleIdx="1" presStyleCnt="6"/>
      <dgm:spPr>
        <a:blipFill dpi="0" rotWithShape="1">
          <a:blip xmlns:r="http://schemas.openxmlformats.org/officeDocument/2006/relationships" r:embed="rId3"/>
          <a:srcRect/>
          <a:stretch>
            <a:fillRect l="-158805" t="1" r="-131957" b="-44727"/>
          </a:stretch>
        </a:blipFill>
      </dgm:spPr>
    </dgm:pt>
    <dgm:pt modelId="{551939D2-BFAD-4264-9409-5A6B48D0738B}" type="pres">
      <dgm:prSet presAssocID="{84784DA1-2373-438D-9F7B-5310E0DB47B4}" presName="sibTrans" presStyleCnt="0"/>
      <dgm:spPr/>
    </dgm:pt>
    <dgm:pt modelId="{AC3A7707-F53C-41BA-B997-67438C985B4D}" type="pres">
      <dgm:prSet presAssocID="{970CFCE6-ADA1-47F5-9957-455FA68BAA87}" presName="composite" presStyleCnt="0"/>
      <dgm:spPr/>
    </dgm:pt>
    <dgm:pt modelId="{0769E368-53E5-4E8E-B69A-03672A9154C8}" type="pres">
      <dgm:prSet presAssocID="{970CFCE6-ADA1-47F5-9957-455FA68BAA87}" presName="rect1" presStyleLbl="trAlignAcc1" presStyleIdx="2" presStyleCnt="6">
        <dgm:presLayoutVars>
          <dgm:bulletEnabled val="1"/>
        </dgm:presLayoutVars>
      </dgm:prSet>
      <dgm:spPr/>
    </dgm:pt>
    <dgm:pt modelId="{E619197E-B2DA-4761-8133-8C4B6CC90C26}" type="pres">
      <dgm:prSet presAssocID="{970CFCE6-ADA1-47F5-9957-455FA68BAA87}" presName="rect2" presStyleLbl="fgImgPlace1" presStyleIdx="2" presStyleCnt="6"/>
      <dgm:spPr>
        <a:blipFill dpi="0" rotWithShape="1">
          <a:blip xmlns:r="http://schemas.openxmlformats.org/officeDocument/2006/relationships" r:embed="rId4"/>
          <a:srcRect/>
          <a:stretch>
            <a:fillRect l="-83132" t="-2087" r="-88196" b="-25897"/>
          </a:stretch>
        </a:blipFill>
      </dgm:spPr>
    </dgm:pt>
    <dgm:pt modelId="{84B6BA24-32C1-438A-B414-40E2A80FECD6}" type="pres">
      <dgm:prSet presAssocID="{7B34F521-113E-4807-AB1E-AB1C2FBDC5A7}" presName="sibTrans" presStyleCnt="0"/>
      <dgm:spPr/>
    </dgm:pt>
    <dgm:pt modelId="{6A1FB4FD-F58A-49E2-BEFA-8644F8580BC8}" type="pres">
      <dgm:prSet presAssocID="{9014F4D6-4EC6-4E52-87F3-9369578EDB35}" presName="composite" presStyleCnt="0"/>
      <dgm:spPr/>
    </dgm:pt>
    <dgm:pt modelId="{A082FF04-D952-4661-8566-ECA571AC96EF}" type="pres">
      <dgm:prSet presAssocID="{9014F4D6-4EC6-4E52-87F3-9369578EDB35}" presName="rect1" presStyleLbl="trAlignAcc1" presStyleIdx="3" presStyleCnt="6">
        <dgm:presLayoutVars>
          <dgm:bulletEnabled val="1"/>
        </dgm:presLayoutVars>
      </dgm:prSet>
      <dgm:spPr/>
    </dgm:pt>
    <dgm:pt modelId="{B3779234-9505-4D78-A5A1-9FD9246668F1}" type="pres">
      <dgm:prSet presAssocID="{9014F4D6-4EC6-4E52-87F3-9369578EDB35}" presName="rect2" presStyleLbl="fgImgPlace1" presStyleIdx="3" presStyleCnt="6"/>
      <dgm:spPr>
        <a:blipFill dpi="0" rotWithShape="1">
          <a:blip xmlns:r="http://schemas.openxmlformats.org/officeDocument/2006/relationships" r:embed="rId5" cstate="hq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  <a14:imgEffect>
                      <a14:brightnessContrast bright="10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72298" t="13324" r="-2422" b="-683"/>
          </a:stretch>
        </a:blipFill>
      </dgm:spPr>
    </dgm:pt>
    <dgm:pt modelId="{740EDE2A-EEB9-4C24-8362-D9EF4D596FF8}" type="pres">
      <dgm:prSet presAssocID="{DE6AE22D-C856-49FE-83CD-2C1C7927EEE2}" presName="sibTrans" presStyleCnt="0"/>
      <dgm:spPr/>
    </dgm:pt>
    <dgm:pt modelId="{230ABC3F-E84F-47B0-B2E4-9195024691A2}" type="pres">
      <dgm:prSet presAssocID="{BC984B77-411B-49B9-B72A-A9BDF660BBCA}" presName="composite" presStyleCnt="0"/>
      <dgm:spPr/>
    </dgm:pt>
    <dgm:pt modelId="{D13F9C3A-6FE0-4954-B027-0E9D013047E3}" type="pres">
      <dgm:prSet presAssocID="{BC984B77-411B-49B9-B72A-A9BDF660BBCA}" presName="rect1" presStyleLbl="trAlignAcc1" presStyleIdx="4" presStyleCnt="6">
        <dgm:presLayoutVars>
          <dgm:bulletEnabled val="1"/>
        </dgm:presLayoutVars>
      </dgm:prSet>
      <dgm:spPr/>
    </dgm:pt>
    <dgm:pt modelId="{2E7014D2-4F40-495B-B25E-5979E0EC6DDE}" type="pres">
      <dgm:prSet presAssocID="{BC984B77-411B-49B9-B72A-A9BDF660BBCA}" presName="rect2" presStyleLbl="fgImgPlace1" presStyleIdx="4" presStyleCnt="6"/>
      <dgm:spPr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</dgm:spPr>
    </dgm:pt>
    <dgm:pt modelId="{26F61E39-5A7F-4AFA-A344-580DAE0EA7D8}" type="pres">
      <dgm:prSet presAssocID="{3E0F1FB2-5A15-473C-A49D-9A0F2B4F1F34}" presName="sibTrans" presStyleCnt="0"/>
      <dgm:spPr/>
    </dgm:pt>
    <dgm:pt modelId="{5A5F3688-511D-45CB-997B-FD0227EC8873}" type="pres">
      <dgm:prSet presAssocID="{B2E32D4E-F92B-45F6-B9C3-B0BC7E144E2F}" presName="composite" presStyleCnt="0"/>
      <dgm:spPr/>
    </dgm:pt>
    <dgm:pt modelId="{D9A03B07-7D92-4CF2-8404-D374AF6EE7A9}" type="pres">
      <dgm:prSet presAssocID="{B2E32D4E-F92B-45F6-B9C3-B0BC7E144E2F}" presName="rect1" presStyleLbl="trAlignAcc1" presStyleIdx="5" presStyleCnt="6">
        <dgm:presLayoutVars>
          <dgm:bulletEnabled val="1"/>
        </dgm:presLayoutVars>
      </dgm:prSet>
      <dgm:spPr/>
    </dgm:pt>
    <dgm:pt modelId="{983E29F3-E432-4D02-BE2A-66201044EA01}" type="pres">
      <dgm:prSet presAssocID="{B2E32D4E-F92B-45F6-B9C3-B0BC7E144E2F}" presName="rect2" presStyleLbl="fgImgPlace1" presStyleIdx="5" presStyleCnt="6"/>
      <dgm:spPr>
        <a:blipFill rotWithShape="1">
          <a:blip xmlns:r="http://schemas.openxmlformats.org/officeDocument/2006/relationships" r:embed="rId8" cstate="hq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10000"/>
                    </a14:imgEffect>
                    <a14:imgEffect>
                      <a14:brightnessContrast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54000" r="-54000"/>
          </a:stretch>
        </a:blipFill>
      </dgm:spPr>
    </dgm:pt>
  </dgm:ptLst>
  <dgm:cxnLst>
    <dgm:cxn modelId="{E9968F0A-8526-41B2-B145-D78CB12E2C9A}" type="presOf" srcId="{359DDDAE-C2A1-4CB8-A7B9-C6CC1A1CFC0C}" destId="{3E1733FF-59CC-44B4-BAAA-3743381FE03E}" srcOrd="0" destOrd="0" presId="urn:microsoft.com/office/officeart/2008/layout/PictureStrips"/>
    <dgm:cxn modelId="{BAE1700C-3108-4CD9-ABA9-AD982C451755}" type="presOf" srcId="{B2E32D4E-F92B-45F6-B9C3-B0BC7E144E2F}" destId="{D9A03B07-7D92-4CF2-8404-D374AF6EE7A9}" srcOrd="0" destOrd="0" presId="urn:microsoft.com/office/officeart/2008/layout/PictureStrips"/>
    <dgm:cxn modelId="{8A24861F-6D83-4262-BD27-E2C4D56F444B}" type="presOf" srcId="{970CFCE6-ADA1-47F5-9957-455FA68BAA87}" destId="{0769E368-53E5-4E8E-B69A-03672A9154C8}" srcOrd="0" destOrd="0" presId="urn:microsoft.com/office/officeart/2008/layout/PictureStrips"/>
    <dgm:cxn modelId="{FFC5193B-F4E2-4104-B9C0-77AB4F0C67C3}" srcId="{7C970CE6-9E5A-4FC7-B93F-BC09CAE0129F}" destId="{41C12D17-CEEC-41D7-9B88-845CD784A4D3}" srcOrd="0" destOrd="0" parTransId="{EE99728D-FE4C-46CC-A4D6-7BCCA353145A}" sibTransId="{5FEB4A83-E8D7-4967-ADF3-80FBCA4CDDFC}"/>
    <dgm:cxn modelId="{35930D3E-53B1-4232-A861-ABE72F0DCD84}" srcId="{7C970CE6-9E5A-4FC7-B93F-BC09CAE0129F}" destId="{970CFCE6-ADA1-47F5-9957-455FA68BAA87}" srcOrd="2" destOrd="0" parTransId="{49991210-BEC9-4B34-AE46-0B4D83614731}" sibTransId="{7B34F521-113E-4807-AB1E-AB1C2FBDC5A7}"/>
    <dgm:cxn modelId="{03060763-A876-4334-B11B-81CFDE23DB29}" type="presOf" srcId="{7C970CE6-9E5A-4FC7-B93F-BC09CAE0129F}" destId="{979FDE2E-900C-47A1-8945-9A17391639B6}" srcOrd="0" destOrd="0" presId="urn:microsoft.com/office/officeart/2008/layout/PictureStrips"/>
    <dgm:cxn modelId="{565FDB8F-4D26-4563-9216-E3D0AF9C4E7A}" type="presOf" srcId="{41C12D17-CEEC-41D7-9B88-845CD784A4D3}" destId="{95BDFC30-D30E-49B9-B95B-128EA3A8F997}" srcOrd="0" destOrd="0" presId="urn:microsoft.com/office/officeart/2008/layout/PictureStrips"/>
    <dgm:cxn modelId="{109C08A5-8704-4538-81F3-962BB773B3E9}" srcId="{7C970CE6-9E5A-4FC7-B93F-BC09CAE0129F}" destId="{9014F4D6-4EC6-4E52-87F3-9369578EDB35}" srcOrd="3" destOrd="0" parTransId="{F9C7B3B5-6847-42C2-B689-50ACB09A2E59}" sibTransId="{DE6AE22D-C856-49FE-83CD-2C1C7927EEE2}"/>
    <dgm:cxn modelId="{426C64CD-D3F5-4391-8019-7E520C040AD3}" type="presOf" srcId="{BC984B77-411B-49B9-B72A-A9BDF660BBCA}" destId="{D13F9C3A-6FE0-4954-B027-0E9D013047E3}" srcOrd="0" destOrd="0" presId="urn:microsoft.com/office/officeart/2008/layout/PictureStrips"/>
    <dgm:cxn modelId="{D89AEBD3-8DD6-46B3-A262-843853ACC25B}" srcId="{7C970CE6-9E5A-4FC7-B93F-BC09CAE0129F}" destId="{359DDDAE-C2A1-4CB8-A7B9-C6CC1A1CFC0C}" srcOrd="1" destOrd="0" parTransId="{625869AD-0BF2-432D-984D-4ED9970C1995}" sibTransId="{84784DA1-2373-438D-9F7B-5310E0DB47B4}"/>
    <dgm:cxn modelId="{999CD3E4-A917-4979-828D-4FD195E433A6}" srcId="{7C970CE6-9E5A-4FC7-B93F-BC09CAE0129F}" destId="{B2E32D4E-F92B-45F6-B9C3-B0BC7E144E2F}" srcOrd="5" destOrd="0" parTransId="{C991888C-70BE-4B9B-98CE-AC4E0C1DBB77}" sibTransId="{6AF4A308-32CF-4071-A620-D0FBF7656F61}"/>
    <dgm:cxn modelId="{C44A5EED-7FED-4A7B-981F-46A3A91F3434}" type="presOf" srcId="{9014F4D6-4EC6-4E52-87F3-9369578EDB35}" destId="{A082FF04-D952-4661-8566-ECA571AC96EF}" srcOrd="0" destOrd="0" presId="urn:microsoft.com/office/officeart/2008/layout/PictureStrips"/>
    <dgm:cxn modelId="{61A19FF3-D884-4C67-A793-8D25F58F4151}" srcId="{7C970CE6-9E5A-4FC7-B93F-BC09CAE0129F}" destId="{BC984B77-411B-49B9-B72A-A9BDF660BBCA}" srcOrd="4" destOrd="0" parTransId="{0FB52C1B-89FA-4E99-A01B-3EF6A1381E11}" sibTransId="{3E0F1FB2-5A15-473C-A49D-9A0F2B4F1F34}"/>
    <dgm:cxn modelId="{D7FF668B-1994-4D58-8996-2F0F35966465}" type="presParOf" srcId="{979FDE2E-900C-47A1-8945-9A17391639B6}" destId="{096098EF-241A-4936-8D16-01DA20769307}" srcOrd="0" destOrd="0" presId="urn:microsoft.com/office/officeart/2008/layout/PictureStrips"/>
    <dgm:cxn modelId="{F7505122-6C9B-4570-9E2A-3030BD1C36DC}" type="presParOf" srcId="{096098EF-241A-4936-8D16-01DA20769307}" destId="{95BDFC30-D30E-49B9-B95B-128EA3A8F997}" srcOrd="0" destOrd="0" presId="urn:microsoft.com/office/officeart/2008/layout/PictureStrips"/>
    <dgm:cxn modelId="{8215E943-B1A9-486F-BD6C-FD8E52A5E911}" type="presParOf" srcId="{096098EF-241A-4936-8D16-01DA20769307}" destId="{6806DC7F-CB63-4435-8FB9-E77C95C67220}" srcOrd="1" destOrd="0" presId="urn:microsoft.com/office/officeart/2008/layout/PictureStrips"/>
    <dgm:cxn modelId="{FD573BA3-447B-4CB6-A531-0711521E454A}" type="presParOf" srcId="{979FDE2E-900C-47A1-8945-9A17391639B6}" destId="{58DC8629-22BA-49D6-A76B-D77BFC920337}" srcOrd="1" destOrd="0" presId="urn:microsoft.com/office/officeart/2008/layout/PictureStrips"/>
    <dgm:cxn modelId="{53777125-CDE7-4EB7-9D8A-04E4FAFA5098}" type="presParOf" srcId="{979FDE2E-900C-47A1-8945-9A17391639B6}" destId="{4141243C-0F4B-4125-99A1-634CF159CEC0}" srcOrd="2" destOrd="0" presId="urn:microsoft.com/office/officeart/2008/layout/PictureStrips"/>
    <dgm:cxn modelId="{1D54A0C1-F1D5-4F4B-AFB7-4EEEACF68968}" type="presParOf" srcId="{4141243C-0F4B-4125-99A1-634CF159CEC0}" destId="{3E1733FF-59CC-44B4-BAAA-3743381FE03E}" srcOrd="0" destOrd="0" presId="urn:microsoft.com/office/officeart/2008/layout/PictureStrips"/>
    <dgm:cxn modelId="{429D1B84-1A76-45C6-910A-E8D440306629}" type="presParOf" srcId="{4141243C-0F4B-4125-99A1-634CF159CEC0}" destId="{C7143C16-E6AC-4956-A46C-1A4C29804433}" srcOrd="1" destOrd="0" presId="urn:microsoft.com/office/officeart/2008/layout/PictureStrips"/>
    <dgm:cxn modelId="{CF89C8E9-6CA4-4E0D-B9F0-9AE233F3EF87}" type="presParOf" srcId="{979FDE2E-900C-47A1-8945-9A17391639B6}" destId="{551939D2-BFAD-4264-9409-5A6B48D0738B}" srcOrd="3" destOrd="0" presId="urn:microsoft.com/office/officeart/2008/layout/PictureStrips"/>
    <dgm:cxn modelId="{92A26890-54A9-4F35-B64B-E6D26FBFEBEC}" type="presParOf" srcId="{979FDE2E-900C-47A1-8945-9A17391639B6}" destId="{AC3A7707-F53C-41BA-B997-67438C985B4D}" srcOrd="4" destOrd="0" presId="urn:microsoft.com/office/officeart/2008/layout/PictureStrips"/>
    <dgm:cxn modelId="{698D8566-9F90-4557-9C0B-872BE1CDADC6}" type="presParOf" srcId="{AC3A7707-F53C-41BA-B997-67438C985B4D}" destId="{0769E368-53E5-4E8E-B69A-03672A9154C8}" srcOrd="0" destOrd="0" presId="urn:microsoft.com/office/officeart/2008/layout/PictureStrips"/>
    <dgm:cxn modelId="{19806540-4638-4DB6-946F-FCA5908AAA89}" type="presParOf" srcId="{AC3A7707-F53C-41BA-B997-67438C985B4D}" destId="{E619197E-B2DA-4761-8133-8C4B6CC90C26}" srcOrd="1" destOrd="0" presId="urn:microsoft.com/office/officeart/2008/layout/PictureStrips"/>
    <dgm:cxn modelId="{20D5A709-1044-42A4-965B-EEECE7F88A1A}" type="presParOf" srcId="{979FDE2E-900C-47A1-8945-9A17391639B6}" destId="{84B6BA24-32C1-438A-B414-40E2A80FECD6}" srcOrd="5" destOrd="0" presId="urn:microsoft.com/office/officeart/2008/layout/PictureStrips"/>
    <dgm:cxn modelId="{5CD7941E-8953-4BEB-9E64-A53B1772B07D}" type="presParOf" srcId="{979FDE2E-900C-47A1-8945-9A17391639B6}" destId="{6A1FB4FD-F58A-49E2-BEFA-8644F8580BC8}" srcOrd="6" destOrd="0" presId="urn:microsoft.com/office/officeart/2008/layout/PictureStrips"/>
    <dgm:cxn modelId="{FDD241FD-72A3-4D0D-817E-01CE54EA0904}" type="presParOf" srcId="{6A1FB4FD-F58A-49E2-BEFA-8644F8580BC8}" destId="{A082FF04-D952-4661-8566-ECA571AC96EF}" srcOrd="0" destOrd="0" presId="urn:microsoft.com/office/officeart/2008/layout/PictureStrips"/>
    <dgm:cxn modelId="{85DA2F51-6593-4E18-B317-6FAA7AE231CA}" type="presParOf" srcId="{6A1FB4FD-F58A-49E2-BEFA-8644F8580BC8}" destId="{B3779234-9505-4D78-A5A1-9FD9246668F1}" srcOrd="1" destOrd="0" presId="urn:microsoft.com/office/officeart/2008/layout/PictureStrips"/>
    <dgm:cxn modelId="{58DDA7FC-1D4A-4AEE-B1C0-2D4278F511F1}" type="presParOf" srcId="{979FDE2E-900C-47A1-8945-9A17391639B6}" destId="{740EDE2A-EEB9-4C24-8362-D9EF4D596FF8}" srcOrd="7" destOrd="0" presId="urn:microsoft.com/office/officeart/2008/layout/PictureStrips"/>
    <dgm:cxn modelId="{5902448A-1D88-4CA5-BE7D-13446FCEF189}" type="presParOf" srcId="{979FDE2E-900C-47A1-8945-9A17391639B6}" destId="{230ABC3F-E84F-47B0-B2E4-9195024691A2}" srcOrd="8" destOrd="0" presId="urn:microsoft.com/office/officeart/2008/layout/PictureStrips"/>
    <dgm:cxn modelId="{384CCF3C-028C-45F5-ABA8-750EC22C01EB}" type="presParOf" srcId="{230ABC3F-E84F-47B0-B2E4-9195024691A2}" destId="{D13F9C3A-6FE0-4954-B027-0E9D013047E3}" srcOrd="0" destOrd="0" presId="urn:microsoft.com/office/officeart/2008/layout/PictureStrips"/>
    <dgm:cxn modelId="{1B910D65-BE87-4EF1-9975-6212A7F069BA}" type="presParOf" srcId="{230ABC3F-E84F-47B0-B2E4-9195024691A2}" destId="{2E7014D2-4F40-495B-B25E-5979E0EC6DDE}" srcOrd="1" destOrd="0" presId="urn:microsoft.com/office/officeart/2008/layout/PictureStrips"/>
    <dgm:cxn modelId="{FE71E04F-A127-41A9-BE62-725E0A2ECC9C}" type="presParOf" srcId="{979FDE2E-900C-47A1-8945-9A17391639B6}" destId="{26F61E39-5A7F-4AFA-A344-580DAE0EA7D8}" srcOrd="9" destOrd="0" presId="urn:microsoft.com/office/officeart/2008/layout/PictureStrips"/>
    <dgm:cxn modelId="{F28A5FA8-66D3-4CE9-B5DD-7E8F48EED2AE}" type="presParOf" srcId="{979FDE2E-900C-47A1-8945-9A17391639B6}" destId="{5A5F3688-511D-45CB-997B-FD0227EC8873}" srcOrd="10" destOrd="0" presId="urn:microsoft.com/office/officeart/2008/layout/PictureStrips"/>
    <dgm:cxn modelId="{802DDEB9-8E00-4795-90CB-AD3991B9E3D0}" type="presParOf" srcId="{5A5F3688-511D-45CB-997B-FD0227EC8873}" destId="{D9A03B07-7D92-4CF2-8404-D374AF6EE7A9}" srcOrd="0" destOrd="0" presId="urn:microsoft.com/office/officeart/2008/layout/PictureStrips"/>
    <dgm:cxn modelId="{B82120DB-496A-4C58-B34D-6DC9C685979E}" type="presParOf" srcId="{5A5F3688-511D-45CB-997B-FD0227EC8873}" destId="{983E29F3-E432-4D02-BE2A-66201044EA01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AA6B557-D676-4CEF-A108-FD14350AC8A1}" type="doc">
      <dgm:prSet loTypeId="urn:microsoft.com/office/officeart/2005/8/layout/list1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50D0115B-212F-446A-958E-B1DEDE81E079}">
      <dgm:prSet phldrT="[Текст]" custT="1"/>
      <dgm:spPr/>
      <dgm:t>
        <a:bodyPr/>
        <a:lstStyle/>
        <a:p>
          <a:r>
            <a:rPr lang="ru-RU" sz="1600" b="1" dirty="0"/>
            <a:t>Разочарование уровнем повышения заработной платы муниципальных служащих</a:t>
          </a:r>
        </a:p>
      </dgm:t>
    </dgm:pt>
    <dgm:pt modelId="{66EB12E8-8953-4A81-B566-36F2C15F2D4F}" type="parTrans" cxnId="{0E093769-070B-4B1B-A9BE-6E5842741059}">
      <dgm:prSet/>
      <dgm:spPr/>
      <dgm:t>
        <a:bodyPr/>
        <a:lstStyle/>
        <a:p>
          <a:endParaRPr lang="ru-RU" sz="1600"/>
        </a:p>
      </dgm:t>
    </dgm:pt>
    <dgm:pt modelId="{54721FCA-5876-4293-8A7F-D5799B472E75}" type="sibTrans" cxnId="{0E093769-070B-4B1B-A9BE-6E5842741059}">
      <dgm:prSet/>
      <dgm:spPr/>
      <dgm:t>
        <a:bodyPr/>
        <a:lstStyle/>
        <a:p>
          <a:endParaRPr lang="ru-RU" sz="1600"/>
        </a:p>
      </dgm:t>
    </dgm:pt>
    <dgm:pt modelId="{7E09AAC1-E570-4FFE-8661-BB35C61CFFE4}">
      <dgm:prSet custT="1"/>
      <dgm:spPr/>
      <dgm:t>
        <a:bodyPr/>
        <a:lstStyle/>
        <a:p>
          <a:r>
            <a:rPr lang="ru-RU" sz="1600" b="1" dirty="0"/>
            <a:t>Снизился статус глав сельских поселений</a:t>
          </a:r>
        </a:p>
      </dgm:t>
    </dgm:pt>
    <dgm:pt modelId="{139294CB-81D1-4766-A4F7-13EAB0908F93}" type="parTrans" cxnId="{92FD3601-A8CB-492F-9A58-A72139DAE92A}">
      <dgm:prSet/>
      <dgm:spPr/>
      <dgm:t>
        <a:bodyPr/>
        <a:lstStyle/>
        <a:p>
          <a:endParaRPr lang="ru-RU" sz="1600"/>
        </a:p>
      </dgm:t>
    </dgm:pt>
    <dgm:pt modelId="{A2C4DA85-D813-48F7-A2F5-B9FCF773D871}" type="sibTrans" cxnId="{92FD3601-A8CB-492F-9A58-A72139DAE92A}">
      <dgm:prSet/>
      <dgm:spPr/>
      <dgm:t>
        <a:bodyPr/>
        <a:lstStyle/>
        <a:p>
          <a:endParaRPr lang="ru-RU" sz="1600"/>
        </a:p>
      </dgm:t>
    </dgm:pt>
    <dgm:pt modelId="{69D00644-BAD5-4486-AE64-4B2DC28328AC}">
      <dgm:prSet custT="1"/>
      <dgm:spPr/>
      <dgm:t>
        <a:bodyPr/>
        <a:lstStyle/>
        <a:p>
          <a:r>
            <a:rPr lang="ru-RU" sz="1600" b="1" dirty="0"/>
            <a:t>Не все запланированные мероприятия вошли в План социально-экономического развития (уточнения сумм, согласование с ИОГВ)</a:t>
          </a:r>
        </a:p>
      </dgm:t>
    </dgm:pt>
    <dgm:pt modelId="{229315A9-E177-43EF-BB60-A93B17168C49}" type="parTrans" cxnId="{D3F05984-9214-4088-B20B-44F15CB32D44}">
      <dgm:prSet/>
      <dgm:spPr/>
      <dgm:t>
        <a:bodyPr/>
        <a:lstStyle/>
        <a:p>
          <a:endParaRPr lang="ru-RU" sz="1600"/>
        </a:p>
      </dgm:t>
    </dgm:pt>
    <dgm:pt modelId="{7AD666E1-E367-4491-904E-DC4E5883B5EC}" type="sibTrans" cxnId="{D3F05984-9214-4088-B20B-44F15CB32D44}">
      <dgm:prSet/>
      <dgm:spPr/>
      <dgm:t>
        <a:bodyPr/>
        <a:lstStyle/>
        <a:p>
          <a:endParaRPr lang="ru-RU" sz="1600"/>
        </a:p>
      </dgm:t>
    </dgm:pt>
    <dgm:pt modelId="{6FF88F8E-F631-4477-B782-27F7DB032CE7}">
      <dgm:prSet custT="1"/>
      <dgm:spPr/>
      <dgm:t>
        <a:bodyPr/>
        <a:lstStyle/>
        <a:p>
          <a:r>
            <a:rPr lang="ru-RU" sz="1600" b="1" dirty="0"/>
            <a:t>Необходимо переименовывать 5 населенных пунктов</a:t>
          </a:r>
        </a:p>
      </dgm:t>
    </dgm:pt>
    <dgm:pt modelId="{79D5F207-D03B-4B65-B5C9-76CDDDACD911}" type="parTrans" cxnId="{EDA3A0B3-4799-4A6D-9054-7EF1EAB7771F}">
      <dgm:prSet/>
      <dgm:spPr/>
      <dgm:t>
        <a:bodyPr/>
        <a:lstStyle/>
        <a:p>
          <a:endParaRPr lang="ru-RU" sz="1600"/>
        </a:p>
      </dgm:t>
    </dgm:pt>
    <dgm:pt modelId="{388E9706-D6ED-4558-A552-D516EFF4549D}" type="sibTrans" cxnId="{EDA3A0B3-4799-4A6D-9054-7EF1EAB7771F}">
      <dgm:prSet/>
      <dgm:spPr/>
      <dgm:t>
        <a:bodyPr/>
        <a:lstStyle/>
        <a:p>
          <a:endParaRPr lang="ru-RU" sz="1600"/>
        </a:p>
      </dgm:t>
    </dgm:pt>
    <dgm:pt modelId="{342455BA-1E62-4692-846C-6BC774574C23}">
      <dgm:prSet custT="1"/>
      <dgm:spPr/>
      <dgm:t>
        <a:bodyPr/>
        <a:lstStyle/>
        <a:p>
          <a:r>
            <a:rPr lang="ru-RU" sz="1600" b="1" dirty="0"/>
            <a:t>Изменение адресов (в новых адресах проставляется «Вилегодский муниципальный округ»)</a:t>
          </a:r>
        </a:p>
      </dgm:t>
    </dgm:pt>
    <dgm:pt modelId="{B1F59735-AAEE-46C2-9E30-93C4FF5631C5}" type="parTrans" cxnId="{54B625A8-736F-4F6D-9F8D-1FC63153046D}">
      <dgm:prSet/>
      <dgm:spPr/>
      <dgm:t>
        <a:bodyPr/>
        <a:lstStyle/>
        <a:p>
          <a:endParaRPr lang="ru-RU" sz="1600"/>
        </a:p>
      </dgm:t>
    </dgm:pt>
    <dgm:pt modelId="{0C605428-40CB-4FF6-B1A6-05543FC9363E}" type="sibTrans" cxnId="{54B625A8-736F-4F6D-9F8D-1FC63153046D}">
      <dgm:prSet/>
      <dgm:spPr/>
      <dgm:t>
        <a:bodyPr/>
        <a:lstStyle/>
        <a:p>
          <a:endParaRPr lang="ru-RU" sz="1600"/>
        </a:p>
      </dgm:t>
    </dgm:pt>
    <dgm:pt modelId="{B28250A0-6382-4732-8566-AEF5B17E822B}">
      <dgm:prSet custT="1"/>
      <dgm:spPr/>
      <dgm:t>
        <a:bodyPr/>
        <a:lstStyle/>
        <a:p>
          <a:r>
            <a:rPr lang="ru-RU" sz="1600" b="1" dirty="0"/>
            <a:t>Население не увидело позитивных перемен (или не ассоциирует их с созданием муниципального округа)</a:t>
          </a:r>
        </a:p>
      </dgm:t>
    </dgm:pt>
    <dgm:pt modelId="{9B584ABD-FBEB-4E2B-BFED-0B3FDD83DAAE}" type="parTrans" cxnId="{4C2A2542-4227-46C0-8A70-DC50A5091159}">
      <dgm:prSet/>
      <dgm:spPr/>
      <dgm:t>
        <a:bodyPr/>
        <a:lstStyle/>
        <a:p>
          <a:endParaRPr lang="ru-RU" sz="1600"/>
        </a:p>
      </dgm:t>
    </dgm:pt>
    <dgm:pt modelId="{61CA8684-377A-4C25-A4D9-9EA45E34BDFE}" type="sibTrans" cxnId="{4C2A2542-4227-46C0-8A70-DC50A5091159}">
      <dgm:prSet/>
      <dgm:spPr/>
      <dgm:t>
        <a:bodyPr/>
        <a:lstStyle/>
        <a:p>
          <a:endParaRPr lang="ru-RU" sz="1600"/>
        </a:p>
      </dgm:t>
    </dgm:pt>
    <dgm:pt modelId="{90FEE46F-3F1D-450F-8BF3-3C47873D952D}" type="pres">
      <dgm:prSet presAssocID="{9AA6B557-D676-4CEF-A108-FD14350AC8A1}" presName="linear" presStyleCnt="0">
        <dgm:presLayoutVars>
          <dgm:dir/>
          <dgm:animLvl val="lvl"/>
          <dgm:resizeHandles val="exact"/>
        </dgm:presLayoutVars>
      </dgm:prSet>
      <dgm:spPr/>
    </dgm:pt>
    <dgm:pt modelId="{38AC459A-F586-417A-8A99-5FE7C9FEDB2D}" type="pres">
      <dgm:prSet presAssocID="{50D0115B-212F-446A-958E-B1DEDE81E079}" presName="parentLin" presStyleCnt="0"/>
      <dgm:spPr/>
    </dgm:pt>
    <dgm:pt modelId="{9F3BC84C-432F-4F5C-A6DB-3B2A5B09F7B4}" type="pres">
      <dgm:prSet presAssocID="{50D0115B-212F-446A-958E-B1DEDE81E079}" presName="parentLeftMargin" presStyleLbl="node1" presStyleIdx="0" presStyleCnt="6"/>
      <dgm:spPr/>
    </dgm:pt>
    <dgm:pt modelId="{A1511617-D860-4112-BE24-2DBD688E828C}" type="pres">
      <dgm:prSet presAssocID="{50D0115B-212F-446A-958E-B1DEDE81E079}" presName="parentText" presStyleLbl="node1" presStyleIdx="0" presStyleCnt="6" custScaleX="127138">
        <dgm:presLayoutVars>
          <dgm:chMax val="0"/>
          <dgm:bulletEnabled val="1"/>
        </dgm:presLayoutVars>
      </dgm:prSet>
      <dgm:spPr/>
    </dgm:pt>
    <dgm:pt modelId="{B2149DD1-D041-47EE-8486-A05115549C03}" type="pres">
      <dgm:prSet presAssocID="{50D0115B-212F-446A-958E-B1DEDE81E079}" presName="negativeSpace" presStyleCnt="0"/>
      <dgm:spPr/>
    </dgm:pt>
    <dgm:pt modelId="{071E5530-4D87-4729-BBEA-39E2D308260B}" type="pres">
      <dgm:prSet presAssocID="{50D0115B-212F-446A-958E-B1DEDE81E079}" presName="childText" presStyleLbl="conFgAcc1" presStyleIdx="0" presStyleCnt="6">
        <dgm:presLayoutVars>
          <dgm:bulletEnabled val="1"/>
        </dgm:presLayoutVars>
      </dgm:prSet>
      <dgm:spPr/>
    </dgm:pt>
    <dgm:pt modelId="{195711E9-62DD-4EC1-9222-A3C067CB77B8}" type="pres">
      <dgm:prSet presAssocID="{54721FCA-5876-4293-8A7F-D5799B472E75}" presName="spaceBetweenRectangles" presStyleCnt="0"/>
      <dgm:spPr/>
    </dgm:pt>
    <dgm:pt modelId="{090BCD8C-37D6-498F-91AD-31D4510C73FE}" type="pres">
      <dgm:prSet presAssocID="{7E09AAC1-E570-4FFE-8661-BB35C61CFFE4}" presName="parentLin" presStyleCnt="0"/>
      <dgm:spPr/>
    </dgm:pt>
    <dgm:pt modelId="{14A470CD-A4AD-413C-AEE4-5B068B9EC0A7}" type="pres">
      <dgm:prSet presAssocID="{7E09AAC1-E570-4FFE-8661-BB35C61CFFE4}" presName="parentLeftMargin" presStyleLbl="node1" presStyleIdx="0" presStyleCnt="6"/>
      <dgm:spPr/>
    </dgm:pt>
    <dgm:pt modelId="{8FEBF4A7-424C-49E6-8269-ECCB0EBCB0B3}" type="pres">
      <dgm:prSet presAssocID="{7E09AAC1-E570-4FFE-8661-BB35C61CFFE4}" presName="parentText" presStyleLbl="node1" presStyleIdx="1" presStyleCnt="6" custScaleX="127138">
        <dgm:presLayoutVars>
          <dgm:chMax val="0"/>
          <dgm:bulletEnabled val="1"/>
        </dgm:presLayoutVars>
      </dgm:prSet>
      <dgm:spPr/>
    </dgm:pt>
    <dgm:pt modelId="{DC704496-902D-471B-BF88-2F5B157923B1}" type="pres">
      <dgm:prSet presAssocID="{7E09AAC1-E570-4FFE-8661-BB35C61CFFE4}" presName="negativeSpace" presStyleCnt="0"/>
      <dgm:spPr/>
    </dgm:pt>
    <dgm:pt modelId="{2AC23864-79AD-4ACA-B562-4C3867FB2BD5}" type="pres">
      <dgm:prSet presAssocID="{7E09AAC1-E570-4FFE-8661-BB35C61CFFE4}" presName="childText" presStyleLbl="conFgAcc1" presStyleIdx="1" presStyleCnt="6">
        <dgm:presLayoutVars>
          <dgm:bulletEnabled val="1"/>
        </dgm:presLayoutVars>
      </dgm:prSet>
      <dgm:spPr/>
    </dgm:pt>
    <dgm:pt modelId="{DBB22CD8-DB1A-4E03-B12C-4C11F312CAC0}" type="pres">
      <dgm:prSet presAssocID="{A2C4DA85-D813-48F7-A2F5-B9FCF773D871}" presName="spaceBetweenRectangles" presStyleCnt="0"/>
      <dgm:spPr/>
    </dgm:pt>
    <dgm:pt modelId="{123BA34C-543F-46D2-AF03-5190A03E3846}" type="pres">
      <dgm:prSet presAssocID="{69D00644-BAD5-4486-AE64-4B2DC28328AC}" presName="parentLin" presStyleCnt="0"/>
      <dgm:spPr/>
    </dgm:pt>
    <dgm:pt modelId="{E7D47121-D628-4A8C-BE9B-C8393A343E48}" type="pres">
      <dgm:prSet presAssocID="{69D00644-BAD5-4486-AE64-4B2DC28328AC}" presName="parentLeftMargin" presStyleLbl="node1" presStyleIdx="1" presStyleCnt="6"/>
      <dgm:spPr/>
    </dgm:pt>
    <dgm:pt modelId="{2D20EBD2-976A-4488-984A-01BCD121E996}" type="pres">
      <dgm:prSet presAssocID="{69D00644-BAD5-4486-AE64-4B2DC28328AC}" presName="parentText" presStyleLbl="node1" presStyleIdx="2" presStyleCnt="6" custScaleX="127138">
        <dgm:presLayoutVars>
          <dgm:chMax val="0"/>
          <dgm:bulletEnabled val="1"/>
        </dgm:presLayoutVars>
      </dgm:prSet>
      <dgm:spPr/>
    </dgm:pt>
    <dgm:pt modelId="{DA71E271-47A0-464F-9F27-FB9EF0FB0EE0}" type="pres">
      <dgm:prSet presAssocID="{69D00644-BAD5-4486-AE64-4B2DC28328AC}" presName="negativeSpace" presStyleCnt="0"/>
      <dgm:spPr/>
    </dgm:pt>
    <dgm:pt modelId="{6FE8A1E5-E3D2-4BEF-B6CD-22E86836404F}" type="pres">
      <dgm:prSet presAssocID="{69D00644-BAD5-4486-AE64-4B2DC28328AC}" presName="childText" presStyleLbl="conFgAcc1" presStyleIdx="2" presStyleCnt="6">
        <dgm:presLayoutVars>
          <dgm:bulletEnabled val="1"/>
        </dgm:presLayoutVars>
      </dgm:prSet>
      <dgm:spPr/>
    </dgm:pt>
    <dgm:pt modelId="{35D3B4C9-A2B9-4166-B815-AC23BAA9F7AD}" type="pres">
      <dgm:prSet presAssocID="{7AD666E1-E367-4491-904E-DC4E5883B5EC}" presName="spaceBetweenRectangles" presStyleCnt="0"/>
      <dgm:spPr/>
    </dgm:pt>
    <dgm:pt modelId="{66DE8696-FFFE-4788-9A76-495EF4526261}" type="pres">
      <dgm:prSet presAssocID="{6FF88F8E-F631-4477-B782-27F7DB032CE7}" presName="parentLin" presStyleCnt="0"/>
      <dgm:spPr/>
    </dgm:pt>
    <dgm:pt modelId="{F3A4F7E5-79C4-4667-84D6-6CDA54717C56}" type="pres">
      <dgm:prSet presAssocID="{6FF88F8E-F631-4477-B782-27F7DB032CE7}" presName="parentLeftMargin" presStyleLbl="node1" presStyleIdx="2" presStyleCnt="6"/>
      <dgm:spPr/>
    </dgm:pt>
    <dgm:pt modelId="{BD89B1A1-49B3-47AB-A7EC-3E658781F34D}" type="pres">
      <dgm:prSet presAssocID="{6FF88F8E-F631-4477-B782-27F7DB032CE7}" presName="parentText" presStyleLbl="node1" presStyleIdx="3" presStyleCnt="6" custScaleX="127138">
        <dgm:presLayoutVars>
          <dgm:chMax val="0"/>
          <dgm:bulletEnabled val="1"/>
        </dgm:presLayoutVars>
      </dgm:prSet>
      <dgm:spPr/>
    </dgm:pt>
    <dgm:pt modelId="{CAFCFADF-961F-47C9-AA38-5987A0ADBA06}" type="pres">
      <dgm:prSet presAssocID="{6FF88F8E-F631-4477-B782-27F7DB032CE7}" presName="negativeSpace" presStyleCnt="0"/>
      <dgm:spPr/>
    </dgm:pt>
    <dgm:pt modelId="{10B0A2F9-A752-4033-892D-6690F302C3CA}" type="pres">
      <dgm:prSet presAssocID="{6FF88F8E-F631-4477-B782-27F7DB032CE7}" presName="childText" presStyleLbl="conFgAcc1" presStyleIdx="3" presStyleCnt="6">
        <dgm:presLayoutVars>
          <dgm:bulletEnabled val="1"/>
        </dgm:presLayoutVars>
      </dgm:prSet>
      <dgm:spPr/>
    </dgm:pt>
    <dgm:pt modelId="{30E0909E-5E14-4B71-8877-E0E3A8B840AB}" type="pres">
      <dgm:prSet presAssocID="{388E9706-D6ED-4558-A552-D516EFF4549D}" presName="spaceBetweenRectangles" presStyleCnt="0"/>
      <dgm:spPr/>
    </dgm:pt>
    <dgm:pt modelId="{D84109CE-B046-4BF2-A69E-19A9CA195E01}" type="pres">
      <dgm:prSet presAssocID="{342455BA-1E62-4692-846C-6BC774574C23}" presName="parentLin" presStyleCnt="0"/>
      <dgm:spPr/>
    </dgm:pt>
    <dgm:pt modelId="{2FB97FFD-41B2-47B6-A164-BE49C51FF625}" type="pres">
      <dgm:prSet presAssocID="{342455BA-1E62-4692-846C-6BC774574C23}" presName="parentLeftMargin" presStyleLbl="node1" presStyleIdx="3" presStyleCnt="6"/>
      <dgm:spPr/>
    </dgm:pt>
    <dgm:pt modelId="{BB1CC580-2375-43E6-ACCA-F02579018D0F}" type="pres">
      <dgm:prSet presAssocID="{342455BA-1E62-4692-846C-6BC774574C23}" presName="parentText" presStyleLbl="node1" presStyleIdx="4" presStyleCnt="6" custScaleX="127138">
        <dgm:presLayoutVars>
          <dgm:chMax val="0"/>
          <dgm:bulletEnabled val="1"/>
        </dgm:presLayoutVars>
      </dgm:prSet>
      <dgm:spPr/>
    </dgm:pt>
    <dgm:pt modelId="{AB9C55F8-F044-4053-AAD4-6A167826D5BB}" type="pres">
      <dgm:prSet presAssocID="{342455BA-1E62-4692-846C-6BC774574C23}" presName="negativeSpace" presStyleCnt="0"/>
      <dgm:spPr/>
    </dgm:pt>
    <dgm:pt modelId="{94D1A4DC-1819-4510-9B5D-E11335C55985}" type="pres">
      <dgm:prSet presAssocID="{342455BA-1E62-4692-846C-6BC774574C23}" presName="childText" presStyleLbl="conFgAcc1" presStyleIdx="4" presStyleCnt="6">
        <dgm:presLayoutVars>
          <dgm:bulletEnabled val="1"/>
        </dgm:presLayoutVars>
      </dgm:prSet>
      <dgm:spPr/>
    </dgm:pt>
    <dgm:pt modelId="{B58A65EC-2FBD-4186-B73B-2B52569A05A4}" type="pres">
      <dgm:prSet presAssocID="{0C605428-40CB-4FF6-B1A6-05543FC9363E}" presName="spaceBetweenRectangles" presStyleCnt="0"/>
      <dgm:spPr/>
    </dgm:pt>
    <dgm:pt modelId="{80231C5E-1351-4592-8EF7-A0DF255867E8}" type="pres">
      <dgm:prSet presAssocID="{B28250A0-6382-4732-8566-AEF5B17E822B}" presName="parentLin" presStyleCnt="0"/>
      <dgm:spPr/>
    </dgm:pt>
    <dgm:pt modelId="{2FBF456E-6FBB-48C9-B077-41634D1CCF11}" type="pres">
      <dgm:prSet presAssocID="{B28250A0-6382-4732-8566-AEF5B17E822B}" presName="parentLeftMargin" presStyleLbl="node1" presStyleIdx="4" presStyleCnt="6"/>
      <dgm:spPr/>
    </dgm:pt>
    <dgm:pt modelId="{E66FC6FB-DAF1-4FFA-A013-38A1731A39E3}" type="pres">
      <dgm:prSet presAssocID="{B28250A0-6382-4732-8566-AEF5B17E822B}" presName="parentText" presStyleLbl="node1" presStyleIdx="5" presStyleCnt="6" custScaleX="127138">
        <dgm:presLayoutVars>
          <dgm:chMax val="0"/>
          <dgm:bulletEnabled val="1"/>
        </dgm:presLayoutVars>
      </dgm:prSet>
      <dgm:spPr/>
    </dgm:pt>
    <dgm:pt modelId="{EF45DDC9-C4E2-4707-AC38-427A6FD17DC5}" type="pres">
      <dgm:prSet presAssocID="{B28250A0-6382-4732-8566-AEF5B17E822B}" presName="negativeSpace" presStyleCnt="0"/>
      <dgm:spPr/>
    </dgm:pt>
    <dgm:pt modelId="{7684F01B-ED04-4EA6-BF1E-451088DC3B7F}" type="pres">
      <dgm:prSet presAssocID="{B28250A0-6382-4732-8566-AEF5B17E822B}" presName="childText" presStyleLbl="conFgAcc1" presStyleIdx="5" presStyleCnt="6">
        <dgm:presLayoutVars>
          <dgm:bulletEnabled val="1"/>
        </dgm:presLayoutVars>
      </dgm:prSet>
      <dgm:spPr/>
    </dgm:pt>
  </dgm:ptLst>
  <dgm:cxnLst>
    <dgm:cxn modelId="{92FD3601-A8CB-492F-9A58-A72139DAE92A}" srcId="{9AA6B557-D676-4CEF-A108-FD14350AC8A1}" destId="{7E09AAC1-E570-4FFE-8661-BB35C61CFFE4}" srcOrd="1" destOrd="0" parTransId="{139294CB-81D1-4766-A4F7-13EAB0908F93}" sibTransId="{A2C4DA85-D813-48F7-A2F5-B9FCF773D871}"/>
    <dgm:cxn modelId="{47BED021-BE8D-4034-9EED-A0D03E9D1915}" type="presOf" srcId="{342455BA-1E62-4692-846C-6BC774574C23}" destId="{BB1CC580-2375-43E6-ACCA-F02579018D0F}" srcOrd="1" destOrd="0" presId="urn:microsoft.com/office/officeart/2005/8/layout/list1"/>
    <dgm:cxn modelId="{C769175C-DA52-4082-AD05-699B79BC0ED1}" type="presOf" srcId="{342455BA-1E62-4692-846C-6BC774574C23}" destId="{2FB97FFD-41B2-47B6-A164-BE49C51FF625}" srcOrd="0" destOrd="0" presId="urn:microsoft.com/office/officeart/2005/8/layout/list1"/>
    <dgm:cxn modelId="{DE68505C-CA2D-4ED4-86C4-68D931F89DFF}" type="presOf" srcId="{7E09AAC1-E570-4FFE-8661-BB35C61CFFE4}" destId="{8FEBF4A7-424C-49E6-8269-ECCB0EBCB0B3}" srcOrd="1" destOrd="0" presId="urn:microsoft.com/office/officeart/2005/8/layout/list1"/>
    <dgm:cxn modelId="{4C2A2542-4227-46C0-8A70-DC50A5091159}" srcId="{9AA6B557-D676-4CEF-A108-FD14350AC8A1}" destId="{B28250A0-6382-4732-8566-AEF5B17E822B}" srcOrd="5" destOrd="0" parTransId="{9B584ABD-FBEB-4E2B-BFED-0B3FDD83DAAE}" sibTransId="{61CA8684-377A-4C25-A4D9-9EA45E34BDFE}"/>
    <dgm:cxn modelId="{09FD4562-CF5C-4907-A04E-BC9189D0135D}" type="presOf" srcId="{9AA6B557-D676-4CEF-A108-FD14350AC8A1}" destId="{90FEE46F-3F1D-450F-8BF3-3C47873D952D}" srcOrd="0" destOrd="0" presId="urn:microsoft.com/office/officeart/2005/8/layout/list1"/>
    <dgm:cxn modelId="{4391B543-8DD3-42E5-AD45-E2295244313A}" type="presOf" srcId="{69D00644-BAD5-4486-AE64-4B2DC28328AC}" destId="{E7D47121-D628-4A8C-BE9B-C8393A343E48}" srcOrd="0" destOrd="0" presId="urn:microsoft.com/office/officeart/2005/8/layout/list1"/>
    <dgm:cxn modelId="{0E093769-070B-4B1B-A9BE-6E5842741059}" srcId="{9AA6B557-D676-4CEF-A108-FD14350AC8A1}" destId="{50D0115B-212F-446A-958E-B1DEDE81E079}" srcOrd="0" destOrd="0" parTransId="{66EB12E8-8953-4A81-B566-36F2C15F2D4F}" sibTransId="{54721FCA-5876-4293-8A7F-D5799B472E75}"/>
    <dgm:cxn modelId="{ACF9714C-DC9B-4B78-A056-5873CE4C5DEC}" type="presOf" srcId="{69D00644-BAD5-4486-AE64-4B2DC28328AC}" destId="{2D20EBD2-976A-4488-984A-01BCD121E996}" srcOrd="1" destOrd="0" presId="urn:microsoft.com/office/officeart/2005/8/layout/list1"/>
    <dgm:cxn modelId="{76AD9674-2F44-47A0-9CC3-F08FEB493B31}" type="presOf" srcId="{6FF88F8E-F631-4477-B782-27F7DB032CE7}" destId="{F3A4F7E5-79C4-4667-84D6-6CDA54717C56}" srcOrd="0" destOrd="0" presId="urn:microsoft.com/office/officeart/2005/8/layout/list1"/>
    <dgm:cxn modelId="{7FC03278-67D1-477C-BC3A-DE54A28938BB}" type="presOf" srcId="{7E09AAC1-E570-4FFE-8661-BB35C61CFFE4}" destId="{14A470CD-A4AD-413C-AEE4-5B068B9EC0A7}" srcOrd="0" destOrd="0" presId="urn:microsoft.com/office/officeart/2005/8/layout/list1"/>
    <dgm:cxn modelId="{D3F05984-9214-4088-B20B-44F15CB32D44}" srcId="{9AA6B557-D676-4CEF-A108-FD14350AC8A1}" destId="{69D00644-BAD5-4486-AE64-4B2DC28328AC}" srcOrd="2" destOrd="0" parTransId="{229315A9-E177-43EF-BB60-A93B17168C49}" sibTransId="{7AD666E1-E367-4491-904E-DC4E5883B5EC}"/>
    <dgm:cxn modelId="{E9D1CE89-264D-4C5B-80C7-4952AE60039A}" type="presOf" srcId="{50D0115B-212F-446A-958E-B1DEDE81E079}" destId="{9F3BC84C-432F-4F5C-A6DB-3B2A5B09F7B4}" srcOrd="0" destOrd="0" presId="urn:microsoft.com/office/officeart/2005/8/layout/list1"/>
    <dgm:cxn modelId="{F2B37F98-FB0C-4341-8601-5C3023854883}" type="presOf" srcId="{50D0115B-212F-446A-958E-B1DEDE81E079}" destId="{A1511617-D860-4112-BE24-2DBD688E828C}" srcOrd="1" destOrd="0" presId="urn:microsoft.com/office/officeart/2005/8/layout/list1"/>
    <dgm:cxn modelId="{54B625A8-736F-4F6D-9F8D-1FC63153046D}" srcId="{9AA6B557-D676-4CEF-A108-FD14350AC8A1}" destId="{342455BA-1E62-4692-846C-6BC774574C23}" srcOrd="4" destOrd="0" parTransId="{B1F59735-AAEE-46C2-9E30-93C4FF5631C5}" sibTransId="{0C605428-40CB-4FF6-B1A6-05543FC9363E}"/>
    <dgm:cxn modelId="{ACC29DAE-D94F-4049-BBBE-5DA2072F9F78}" type="presOf" srcId="{B28250A0-6382-4732-8566-AEF5B17E822B}" destId="{2FBF456E-6FBB-48C9-B077-41634D1CCF11}" srcOrd="0" destOrd="0" presId="urn:microsoft.com/office/officeart/2005/8/layout/list1"/>
    <dgm:cxn modelId="{C6BE4CB3-1287-4AA0-8ECF-E3F57296347A}" type="presOf" srcId="{B28250A0-6382-4732-8566-AEF5B17E822B}" destId="{E66FC6FB-DAF1-4FFA-A013-38A1731A39E3}" srcOrd="1" destOrd="0" presId="urn:microsoft.com/office/officeart/2005/8/layout/list1"/>
    <dgm:cxn modelId="{EDA3A0B3-4799-4A6D-9054-7EF1EAB7771F}" srcId="{9AA6B557-D676-4CEF-A108-FD14350AC8A1}" destId="{6FF88F8E-F631-4477-B782-27F7DB032CE7}" srcOrd="3" destOrd="0" parTransId="{79D5F207-D03B-4B65-B5C9-76CDDDACD911}" sibTransId="{388E9706-D6ED-4558-A552-D516EFF4549D}"/>
    <dgm:cxn modelId="{D706AAB3-263A-4FD3-9FEF-E039C45B0A3E}" type="presOf" srcId="{6FF88F8E-F631-4477-B782-27F7DB032CE7}" destId="{BD89B1A1-49B3-47AB-A7EC-3E658781F34D}" srcOrd="1" destOrd="0" presId="urn:microsoft.com/office/officeart/2005/8/layout/list1"/>
    <dgm:cxn modelId="{ACA05B4D-3C81-4D25-A608-A7A133F76467}" type="presParOf" srcId="{90FEE46F-3F1D-450F-8BF3-3C47873D952D}" destId="{38AC459A-F586-417A-8A99-5FE7C9FEDB2D}" srcOrd="0" destOrd="0" presId="urn:microsoft.com/office/officeart/2005/8/layout/list1"/>
    <dgm:cxn modelId="{DFAE755E-E9F9-479C-A3F4-BA21C1C69C81}" type="presParOf" srcId="{38AC459A-F586-417A-8A99-5FE7C9FEDB2D}" destId="{9F3BC84C-432F-4F5C-A6DB-3B2A5B09F7B4}" srcOrd="0" destOrd="0" presId="urn:microsoft.com/office/officeart/2005/8/layout/list1"/>
    <dgm:cxn modelId="{B1CC854A-8115-4632-87C3-9971F18D3057}" type="presParOf" srcId="{38AC459A-F586-417A-8A99-5FE7C9FEDB2D}" destId="{A1511617-D860-4112-BE24-2DBD688E828C}" srcOrd="1" destOrd="0" presId="urn:microsoft.com/office/officeart/2005/8/layout/list1"/>
    <dgm:cxn modelId="{DB76AA29-0C34-4A30-AF25-67DBAB652A5E}" type="presParOf" srcId="{90FEE46F-3F1D-450F-8BF3-3C47873D952D}" destId="{B2149DD1-D041-47EE-8486-A05115549C03}" srcOrd="1" destOrd="0" presId="urn:microsoft.com/office/officeart/2005/8/layout/list1"/>
    <dgm:cxn modelId="{0F1C013E-3D90-4A91-8045-8533E896E5BF}" type="presParOf" srcId="{90FEE46F-3F1D-450F-8BF3-3C47873D952D}" destId="{071E5530-4D87-4729-BBEA-39E2D308260B}" srcOrd="2" destOrd="0" presId="urn:microsoft.com/office/officeart/2005/8/layout/list1"/>
    <dgm:cxn modelId="{4495A6A2-0583-4F90-8D6B-BA833CBA86EB}" type="presParOf" srcId="{90FEE46F-3F1D-450F-8BF3-3C47873D952D}" destId="{195711E9-62DD-4EC1-9222-A3C067CB77B8}" srcOrd="3" destOrd="0" presId="urn:microsoft.com/office/officeart/2005/8/layout/list1"/>
    <dgm:cxn modelId="{0EC72277-1D83-4089-8734-4EED22ECCBD7}" type="presParOf" srcId="{90FEE46F-3F1D-450F-8BF3-3C47873D952D}" destId="{090BCD8C-37D6-498F-91AD-31D4510C73FE}" srcOrd="4" destOrd="0" presId="urn:microsoft.com/office/officeart/2005/8/layout/list1"/>
    <dgm:cxn modelId="{DF92D48E-B810-45E2-BC67-A14F46299F8E}" type="presParOf" srcId="{090BCD8C-37D6-498F-91AD-31D4510C73FE}" destId="{14A470CD-A4AD-413C-AEE4-5B068B9EC0A7}" srcOrd="0" destOrd="0" presId="urn:microsoft.com/office/officeart/2005/8/layout/list1"/>
    <dgm:cxn modelId="{A28712D4-6C65-473A-AD16-ADC3874393C4}" type="presParOf" srcId="{090BCD8C-37D6-498F-91AD-31D4510C73FE}" destId="{8FEBF4A7-424C-49E6-8269-ECCB0EBCB0B3}" srcOrd="1" destOrd="0" presId="urn:microsoft.com/office/officeart/2005/8/layout/list1"/>
    <dgm:cxn modelId="{2C164924-02F4-4EE6-A051-827EB225D1A7}" type="presParOf" srcId="{90FEE46F-3F1D-450F-8BF3-3C47873D952D}" destId="{DC704496-902D-471B-BF88-2F5B157923B1}" srcOrd="5" destOrd="0" presId="urn:microsoft.com/office/officeart/2005/8/layout/list1"/>
    <dgm:cxn modelId="{24DE41E3-6CE7-4C90-8A46-223655B0B51D}" type="presParOf" srcId="{90FEE46F-3F1D-450F-8BF3-3C47873D952D}" destId="{2AC23864-79AD-4ACA-B562-4C3867FB2BD5}" srcOrd="6" destOrd="0" presId="urn:microsoft.com/office/officeart/2005/8/layout/list1"/>
    <dgm:cxn modelId="{56C2560E-5281-4D06-8814-E65633387550}" type="presParOf" srcId="{90FEE46F-3F1D-450F-8BF3-3C47873D952D}" destId="{DBB22CD8-DB1A-4E03-B12C-4C11F312CAC0}" srcOrd="7" destOrd="0" presId="urn:microsoft.com/office/officeart/2005/8/layout/list1"/>
    <dgm:cxn modelId="{DB93F0D0-1DB1-4FAF-8605-5E1A5F9658D0}" type="presParOf" srcId="{90FEE46F-3F1D-450F-8BF3-3C47873D952D}" destId="{123BA34C-543F-46D2-AF03-5190A03E3846}" srcOrd="8" destOrd="0" presId="urn:microsoft.com/office/officeart/2005/8/layout/list1"/>
    <dgm:cxn modelId="{3C4597E6-3FD7-4B43-A842-832ACB41C23B}" type="presParOf" srcId="{123BA34C-543F-46D2-AF03-5190A03E3846}" destId="{E7D47121-D628-4A8C-BE9B-C8393A343E48}" srcOrd="0" destOrd="0" presId="urn:microsoft.com/office/officeart/2005/8/layout/list1"/>
    <dgm:cxn modelId="{503A0C50-C0C4-4C21-8EE7-7A5F62DEB728}" type="presParOf" srcId="{123BA34C-543F-46D2-AF03-5190A03E3846}" destId="{2D20EBD2-976A-4488-984A-01BCD121E996}" srcOrd="1" destOrd="0" presId="urn:microsoft.com/office/officeart/2005/8/layout/list1"/>
    <dgm:cxn modelId="{B3640C7D-924D-435E-B7A1-F29E0E616A16}" type="presParOf" srcId="{90FEE46F-3F1D-450F-8BF3-3C47873D952D}" destId="{DA71E271-47A0-464F-9F27-FB9EF0FB0EE0}" srcOrd="9" destOrd="0" presId="urn:microsoft.com/office/officeart/2005/8/layout/list1"/>
    <dgm:cxn modelId="{C02ED44B-2912-43AB-9548-654F16B75565}" type="presParOf" srcId="{90FEE46F-3F1D-450F-8BF3-3C47873D952D}" destId="{6FE8A1E5-E3D2-4BEF-B6CD-22E86836404F}" srcOrd="10" destOrd="0" presId="urn:microsoft.com/office/officeart/2005/8/layout/list1"/>
    <dgm:cxn modelId="{D3B4CB0D-10C4-4A0D-B3CB-69A2DD048184}" type="presParOf" srcId="{90FEE46F-3F1D-450F-8BF3-3C47873D952D}" destId="{35D3B4C9-A2B9-4166-B815-AC23BAA9F7AD}" srcOrd="11" destOrd="0" presId="urn:microsoft.com/office/officeart/2005/8/layout/list1"/>
    <dgm:cxn modelId="{46578CF5-4CAD-45F5-ADAA-79457925EF30}" type="presParOf" srcId="{90FEE46F-3F1D-450F-8BF3-3C47873D952D}" destId="{66DE8696-FFFE-4788-9A76-495EF4526261}" srcOrd="12" destOrd="0" presId="urn:microsoft.com/office/officeart/2005/8/layout/list1"/>
    <dgm:cxn modelId="{CFEA70E0-AB64-4291-885D-B70E21235A1C}" type="presParOf" srcId="{66DE8696-FFFE-4788-9A76-495EF4526261}" destId="{F3A4F7E5-79C4-4667-84D6-6CDA54717C56}" srcOrd="0" destOrd="0" presId="urn:microsoft.com/office/officeart/2005/8/layout/list1"/>
    <dgm:cxn modelId="{7A4F5639-1ACC-4FF4-9547-5D6BFF60BCCF}" type="presParOf" srcId="{66DE8696-FFFE-4788-9A76-495EF4526261}" destId="{BD89B1A1-49B3-47AB-A7EC-3E658781F34D}" srcOrd="1" destOrd="0" presId="urn:microsoft.com/office/officeart/2005/8/layout/list1"/>
    <dgm:cxn modelId="{7052E881-B09C-463C-969F-7A219918477D}" type="presParOf" srcId="{90FEE46F-3F1D-450F-8BF3-3C47873D952D}" destId="{CAFCFADF-961F-47C9-AA38-5987A0ADBA06}" srcOrd="13" destOrd="0" presId="urn:microsoft.com/office/officeart/2005/8/layout/list1"/>
    <dgm:cxn modelId="{B8D25EB6-0174-4300-BAB6-0FAFE625DBA2}" type="presParOf" srcId="{90FEE46F-3F1D-450F-8BF3-3C47873D952D}" destId="{10B0A2F9-A752-4033-892D-6690F302C3CA}" srcOrd="14" destOrd="0" presId="urn:microsoft.com/office/officeart/2005/8/layout/list1"/>
    <dgm:cxn modelId="{BA77920A-0774-4396-9D3F-2394E07480EF}" type="presParOf" srcId="{90FEE46F-3F1D-450F-8BF3-3C47873D952D}" destId="{30E0909E-5E14-4B71-8877-E0E3A8B840AB}" srcOrd="15" destOrd="0" presId="urn:microsoft.com/office/officeart/2005/8/layout/list1"/>
    <dgm:cxn modelId="{A36265F6-A29F-423A-A5C3-E951EC0B1D55}" type="presParOf" srcId="{90FEE46F-3F1D-450F-8BF3-3C47873D952D}" destId="{D84109CE-B046-4BF2-A69E-19A9CA195E01}" srcOrd="16" destOrd="0" presId="urn:microsoft.com/office/officeart/2005/8/layout/list1"/>
    <dgm:cxn modelId="{37711E3E-ED7E-4DFF-A9CF-C15CA4C0798E}" type="presParOf" srcId="{D84109CE-B046-4BF2-A69E-19A9CA195E01}" destId="{2FB97FFD-41B2-47B6-A164-BE49C51FF625}" srcOrd="0" destOrd="0" presId="urn:microsoft.com/office/officeart/2005/8/layout/list1"/>
    <dgm:cxn modelId="{E6A08B8F-72A1-4EF2-A95E-BC0BB6A8BF03}" type="presParOf" srcId="{D84109CE-B046-4BF2-A69E-19A9CA195E01}" destId="{BB1CC580-2375-43E6-ACCA-F02579018D0F}" srcOrd="1" destOrd="0" presId="urn:microsoft.com/office/officeart/2005/8/layout/list1"/>
    <dgm:cxn modelId="{6AB82E64-6CC9-47C0-811F-3A739EC99689}" type="presParOf" srcId="{90FEE46F-3F1D-450F-8BF3-3C47873D952D}" destId="{AB9C55F8-F044-4053-AAD4-6A167826D5BB}" srcOrd="17" destOrd="0" presId="urn:microsoft.com/office/officeart/2005/8/layout/list1"/>
    <dgm:cxn modelId="{CFF168F3-815E-4136-A913-BD611A4A2687}" type="presParOf" srcId="{90FEE46F-3F1D-450F-8BF3-3C47873D952D}" destId="{94D1A4DC-1819-4510-9B5D-E11335C55985}" srcOrd="18" destOrd="0" presId="urn:microsoft.com/office/officeart/2005/8/layout/list1"/>
    <dgm:cxn modelId="{39672EC4-A015-4ED8-BF5E-2D41786042EA}" type="presParOf" srcId="{90FEE46F-3F1D-450F-8BF3-3C47873D952D}" destId="{B58A65EC-2FBD-4186-B73B-2B52569A05A4}" srcOrd="19" destOrd="0" presId="urn:microsoft.com/office/officeart/2005/8/layout/list1"/>
    <dgm:cxn modelId="{F5E7725A-9E39-48F4-B4B8-8661C3CA8F08}" type="presParOf" srcId="{90FEE46F-3F1D-450F-8BF3-3C47873D952D}" destId="{80231C5E-1351-4592-8EF7-A0DF255867E8}" srcOrd="20" destOrd="0" presId="urn:microsoft.com/office/officeart/2005/8/layout/list1"/>
    <dgm:cxn modelId="{3B91A325-A7E7-40E3-B8B5-65E601A56DE3}" type="presParOf" srcId="{80231C5E-1351-4592-8EF7-A0DF255867E8}" destId="{2FBF456E-6FBB-48C9-B077-41634D1CCF11}" srcOrd="0" destOrd="0" presId="urn:microsoft.com/office/officeart/2005/8/layout/list1"/>
    <dgm:cxn modelId="{F0D53322-2AA9-4163-9C1C-467465A9FB23}" type="presParOf" srcId="{80231C5E-1351-4592-8EF7-A0DF255867E8}" destId="{E66FC6FB-DAF1-4FFA-A013-38A1731A39E3}" srcOrd="1" destOrd="0" presId="urn:microsoft.com/office/officeart/2005/8/layout/list1"/>
    <dgm:cxn modelId="{70FFF01B-9592-486F-A44D-633708462BB5}" type="presParOf" srcId="{90FEE46F-3F1D-450F-8BF3-3C47873D952D}" destId="{EF45DDC9-C4E2-4707-AC38-427A6FD17DC5}" srcOrd="21" destOrd="0" presId="urn:microsoft.com/office/officeart/2005/8/layout/list1"/>
    <dgm:cxn modelId="{1261D02B-D266-4294-9262-D92B4BCCC66B}" type="presParOf" srcId="{90FEE46F-3F1D-450F-8BF3-3C47873D952D}" destId="{7684F01B-ED04-4EA6-BF1E-451088DC3B7F}" srcOrd="2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D5A6A4-09AD-4610-913D-0877C7A25D45}">
      <dsp:nvSpPr>
        <dsp:cNvPr id="0" name=""/>
        <dsp:cNvSpPr/>
      </dsp:nvSpPr>
      <dsp:spPr>
        <a:xfrm rot="16200000">
          <a:off x="-1301509" y="1303575"/>
          <a:ext cx="4634554" cy="2027403"/>
        </a:xfrm>
        <a:prstGeom prst="flowChartManualOperati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0" tIns="0" rIns="120036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kern="1200" dirty="0"/>
            <a:t>Нехватка в местном бюджете средств на проекты развития</a:t>
          </a:r>
        </a:p>
      </dsp:txBody>
      <dsp:txXfrm rot="5400000">
        <a:off x="2066" y="926911"/>
        <a:ext cx="2027403" cy="2780732"/>
      </dsp:txXfrm>
    </dsp:sp>
    <dsp:sp modelId="{7E5C7B20-2AE8-48BB-A6FC-0C4FF3A0035A}">
      <dsp:nvSpPr>
        <dsp:cNvPr id="0" name=""/>
        <dsp:cNvSpPr/>
      </dsp:nvSpPr>
      <dsp:spPr>
        <a:xfrm rot="16200000">
          <a:off x="877949" y="1303575"/>
          <a:ext cx="4634554" cy="2027403"/>
        </a:xfrm>
        <a:prstGeom prst="flowChartManualOperation">
          <a:avLst/>
        </a:prstGeom>
        <a:solidFill>
          <a:schemeClr val="accent2">
            <a:hueOff val="-3402467"/>
            <a:satOff val="2799"/>
            <a:lumOff val="-183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0" tIns="0" rIns="120036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kern="1200" dirty="0"/>
            <a:t>Низкий уровень  заработных плат в органах местного самоуправления</a:t>
          </a:r>
        </a:p>
      </dsp:txBody>
      <dsp:txXfrm rot="5400000">
        <a:off x="2181524" y="926911"/>
        <a:ext cx="2027403" cy="2780732"/>
      </dsp:txXfrm>
    </dsp:sp>
    <dsp:sp modelId="{417E9832-FA74-4FC0-924E-915F882144B5}">
      <dsp:nvSpPr>
        <dsp:cNvPr id="0" name=""/>
        <dsp:cNvSpPr/>
      </dsp:nvSpPr>
      <dsp:spPr>
        <a:xfrm rot="16200000">
          <a:off x="3057407" y="1303575"/>
          <a:ext cx="4634554" cy="2027403"/>
        </a:xfrm>
        <a:prstGeom prst="flowChartManualOperation">
          <a:avLst/>
        </a:prstGeom>
        <a:solidFill>
          <a:schemeClr val="accent2">
            <a:hueOff val="-6804934"/>
            <a:satOff val="5598"/>
            <a:lumOff val="-3661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0" tIns="0" rIns="120036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kern="1200" dirty="0"/>
            <a:t>Рабочие конструктивные отношения между ОМСУ района и поселения</a:t>
          </a:r>
        </a:p>
      </dsp:txBody>
      <dsp:txXfrm rot="5400000">
        <a:off x="4360982" y="926911"/>
        <a:ext cx="2027403" cy="2780732"/>
      </dsp:txXfrm>
    </dsp:sp>
    <dsp:sp modelId="{F9F3F94D-83F2-4AD0-8409-CC4C6128F937}">
      <dsp:nvSpPr>
        <dsp:cNvPr id="0" name=""/>
        <dsp:cNvSpPr/>
      </dsp:nvSpPr>
      <dsp:spPr>
        <a:xfrm rot="16200000">
          <a:off x="5236866" y="1303575"/>
          <a:ext cx="4634554" cy="2027403"/>
        </a:xfrm>
        <a:prstGeom prst="flowChartManualOperation">
          <a:avLst/>
        </a:prstGeom>
        <a:solidFill>
          <a:schemeClr val="accent2">
            <a:hueOff val="-10207401"/>
            <a:satOff val="8397"/>
            <a:lumOff val="-5491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0" tIns="0" rIns="120036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kern="1200" dirty="0"/>
            <a:t>Владели информацией о подготовке решений о поддержке муниципальных округов в других регионах</a:t>
          </a:r>
        </a:p>
      </dsp:txBody>
      <dsp:txXfrm rot="5400000">
        <a:off x="6540441" y="926911"/>
        <a:ext cx="2027403" cy="278073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03B3E4-9480-482C-AA65-A5B01D5BE428}">
      <dsp:nvSpPr>
        <dsp:cNvPr id="0" name=""/>
        <dsp:cNvSpPr/>
      </dsp:nvSpPr>
      <dsp:spPr>
        <a:xfrm>
          <a:off x="635375" y="0"/>
          <a:ext cx="7200917" cy="524670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54466A-D8E5-48FD-AE8F-7CB87945AA17}">
      <dsp:nvSpPr>
        <dsp:cNvPr id="0" name=""/>
        <dsp:cNvSpPr/>
      </dsp:nvSpPr>
      <dsp:spPr>
        <a:xfrm>
          <a:off x="2481" y="1574010"/>
          <a:ext cx="1494124" cy="209868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В 2018 году были объединены администрации района и административного центра (МО «Ильинское»)</a:t>
          </a:r>
        </a:p>
      </dsp:txBody>
      <dsp:txXfrm>
        <a:off x="75418" y="1646947"/>
        <a:ext cx="1348250" cy="1952807"/>
      </dsp:txXfrm>
    </dsp:sp>
    <dsp:sp modelId="{79E8AF9F-18CD-4BF6-8620-912DE53EA21B}">
      <dsp:nvSpPr>
        <dsp:cNvPr id="0" name=""/>
        <dsp:cNvSpPr/>
      </dsp:nvSpPr>
      <dsp:spPr>
        <a:xfrm>
          <a:off x="1745626" y="1574010"/>
          <a:ext cx="1494124" cy="209868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В 2015 – 2019 годах район поддерживал сельские поселения («вкладывались в периферию»)</a:t>
          </a:r>
        </a:p>
      </dsp:txBody>
      <dsp:txXfrm>
        <a:off x="1818563" y="1646947"/>
        <a:ext cx="1348250" cy="1952807"/>
      </dsp:txXfrm>
    </dsp:sp>
    <dsp:sp modelId="{8EEE693F-E198-4787-9C85-43A0FFC961B9}">
      <dsp:nvSpPr>
        <dsp:cNvPr id="0" name=""/>
        <dsp:cNvSpPr/>
      </dsp:nvSpPr>
      <dsp:spPr>
        <a:xfrm>
          <a:off x="3488771" y="1574010"/>
          <a:ext cx="1494124" cy="209868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Финансирование по плану социально-экономического развития округа разбили по поселениям</a:t>
          </a:r>
        </a:p>
      </dsp:txBody>
      <dsp:txXfrm>
        <a:off x="3561708" y="1646947"/>
        <a:ext cx="1348250" cy="1952807"/>
      </dsp:txXfrm>
    </dsp:sp>
    <dsp:sp modelId="{BDAC8136-092D-4046-A239-E57B82D6E108}">
      <dsp:nvSpPr>
        <dsp:cNvPr id="0" name=""/>
        <dsp:cNvSpPr/>
      </dsp:nvSpPr>
      <dsp:spPr>
        <a:xfrm>
          <a:off x="5231916" y="1574010"/>
          <a:ext cx="1494124" cy="209868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Под протокол согласовали с главами административную конструкцию функционирования округа</a:t>
          </a:r>
        </a:p>
      </dsp:txBody>
      <dsp:txXfrm>
        <a:off x="5304853" y="1646947"/>
        <a:ext cx="1348250" cy="1952807"/>
      </dsp:txXfrm>
    </dsp:sp>
    <dsp:sp modelId="{CC729D85-1661-47C8-AC01-1A792A517F49}">
      <dsp:nvSpPr>
        <dsp:cNvPr id="0" name=""/>
        <dsp:cNvSpPr/>
      </dsp:nvSpPr>
      <dsp:spPr>
        <a:xfrm>
          <a:off x="6975061" y="1574010"/>
          <a:ext cx="1494124" cy="209868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Привлекли оппозицию к широкому обсуждению вопроса объединения</a:t>
          </a:r>
        </a:p>
      </dsp:txBody>
      <dsp:txXfrm>
        <a:off x="7047998" y="1646947"/>
        <a:ext cx="1348250" cy="195280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03B3E4-9480-482C-AA65-A5B01D5BE428}">
      <dsp:nvSpPr>
        <dsp:cNvPr id="0" name=""/>
        <dsp:cNvSpPr/>
      </dsp:nvSpPr>
      <dsp:spPr>
        <a:xfrm>
          <a:off x="635375" y="0"/>
          <a:ext cx="7200917" cy="5246703"/>
        </a:xfrm>
        <a:prstGeom prst="rightArrow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54466A-D8E5-48FD-AE8F-7CB87945AA17}">
      <dsp:nvSpPr>
        <dsp:cNvPr id="0" name=""/>
        <dsp:cNvSpPr/>
      </dsp:nvSpPr>
      <dsp:spPr>
        <a:xfrm>
          <a:off x="2481" y="1574010"/>
          <a:ext cx="1494124" cy="2098681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Отсутствие утвержденных параметров поддержки муниципальных округов (на апрель 2020 года)</a:t>
          </a:r>
        </a:p>
      </dsp:txBody>
      <dsp:txXfrm>
        <a:off x="75418" y="1646947"/>
        <a:ext cx="1348250" cy="1952807"/>
      </dsp:txXfrm>
    </dsp:sp>
    <dsp:sp modelId="{A3B7AD69-92D0-4339-8543-DFEA333529A2}">
      <dsp:nvSpPr>
        <dsp:cNvPr id="0" name=""/>
        <dsp:cNvSpPr/>
      </dsp:nvSpPr>
      <dsp:spPr>
        <a:xfrm>
          <a:off x="1745626" y="1574010"/>
          <a:ext cx="1494124" cy="2098681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/>
            <a:t>Неполные составы советов депутатов</a:t>
          </a:r>
          <a:endParaRPr lang="ru-RU" sz="1400" kern="1200" dirty="0"/>
        </a:p>
      </dsp:txBody>
      <dsp:txXfrm>
        <a:off x="1818563" y="1646947"/>
        <a:ext cx="1348250" cy="1952807"/>
      </dsp:txXfrm>
    </dsp:sp>
    <dsp:sp modelId="{8AA70E77-9EDA-456E-891F-C76D20C79385}">
      <dsp:nvSpPr>
        <dsp:cNvPr id="0" name=""/>
        <dsp:cNvSpPr/>
      </dsp:nvSpPr>
      <dsp:spPr>
        <a:xfrm>
          <a:off x="3488771" y="1574010"/>
          <a:ext cx="1494124" cy="2098681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Распространение короновирусной инфекции (ограничения на общественные мероприятия)</a:t>
          </a:r>
        </a:p>
      </dsp:txBody>
      <dsp:txXfrm>
        <a:off x="3561708" y="1646947"/>
        <a:ext cx="1348250" cy="1952807"/>
      </dsp:txXfrm>
    </dsp:sp>
    <dsp:sp modelId="{9B12BA55-6DCF-4787-B08B-C8B4149BEB45}">
      <dsp:nvSpPr>
        <dsp:cNvPr id="0" name=""/>
        <dsp:cNvSpPr/>
      </dsp:nvSpPr>
      <dsp:spPr>
        <a:xfrm>
          <a:off x="5231916" y="1574010"/>
          <a:ext cx="1494124" cy="2098681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/>
            <a:t>Принятие областного закона о создании округа на сентябрьской сессии (выборы – 22.12.2020, очень поздно)</a:t>
          </a:r>
          <a:endParaRPr lang="ru-RU" sz="1400" kern="1200" dirty="0"/>
        </a:p>
      </dsp:txBody>
      <dsp:txXfrm>
        <a:off x="5304853" y="1646947"/>
        <a:ext cx="1348250" cy="1952807"/>
      </dsp:txXfrm>
    </dsp:sp>
    <dsp:sp modelId="{247586C6-0435-40BA-8AED-C9AE984BFF78}">
      <dsp:nvSpPr>
        <dsp:cNvPr id="0" name=""/>
        <dsp:cNvSpPr/>
      </dsp:nvSpPr>
      <dsp:spPr>
        <a:xfrm>
          <a:off x="6975061" y="1574010"/>
          <a:ext cx="1494124" cy="2098681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/>
            <a:t>В собрание депутатов округа прошли противники преобразования</a:t>
          </a:r>
          <a:endParaRPr lang="ru-RU" sz="1400" kern="1200" dirty="0"/>
        </a:p>
      </dsp:txBody>
      <dsp:txXfrm>
        <a:off x="7047998" y="1646947"/>
        <a:ext cx="1348250" cy="195280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BDFC30-D30E-49B9-B95B-128EA3A8F997}">
      <dsp:nvSpPr>
        <dsp:cNvPr id="0" name=""/>
        <dsp:cNvSpPr/>
      </dsp:nvSpPr>
      <dsp:spPr>
        <a:xfrm>
          <a:off x="167825" y="261478"/>
          <a:ext cx="3889129" cy="1215353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3199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Утвержден и реализуется План социально-экономического развития Вилегодского муниципального округа</a:t>
          </a:r>
        </a:p>
      </dsp:txBody>
      <dsp:txXfrm>
        <a:off x="167825" y="261478"/>
        <a:ext cx="3889129" cy="1215353"/>
      </dsp:txXfrm>
    </dsp:sp>
    <dsp:sp modelId="{6806DC7F-CB63-4435-8FB9-E77C95C67220}">
      <dsp:nvSpPr>
        <dsp:cNvPr id="0" name=""/>
        <dsp:cNvSpPr/>
      </dsp:nvSpPr>
      <dsp:spPr>
        <a:xfrm>
          <a:off x="5778" y="85927"/>
          <a:ext cx="850747" cy="1276120"/>
        </a:xfrm>
        <a:prstGeom prst="rect">
          <a:avLst/>
        </a:prstGeom>
        <a:blipFill dpi="0" rotWithShape="1">
          <a:blip xmlns:r="http://schemas.openxmlformats.org/officeDocument/2006/relationships" r:embed="rId1" cstate="hqprint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harpenSoften amount="5000"/>
                    </a14:imgEffect>
                    <a14:imgEffect>
                      <a14:brightnessContrast bright="5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1914" b="-57914"/>
          </a:stretch>
        </a:blip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1733FF-59CC-44B4-BAAA-3743381FE03E}">
      <dsp:nvSpPr>
        <dsp:cNvPr id="0" name=""/>
        <dsp:cNvSpPr/>
      </dsp:nvSpPr>
      <dsp:spPr>
        <a:xfrm>
          <a:off x="4443594" y="261478"/>
          <a:ext cx="3889129" cy="1215353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3199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Доведено увеличенное финансирование на содержание органов местного самоуправления</a:t>
          </a:r>
        </a:p>
      </dsp:txBody>
      <dsp:txXfrm>
        <a:off x="4443594" y="261478"/>
        <a:ext cx="3889129" cy="1215353"/>
      </dsp:txXfrm>
    </dsp:sp>
    <dsp:sp modelId="{C7143C16-E6AC-4956-A46C-1A4C29804433}">
      <dsp:nvSpPr>
        <dsp:cNvPr id="0" name=""/>
        <dsp:cNvSpPr/>
      </dsp:nvSpPr>
      <dsp:spPr>
        <a:xfrm>
          <a:off x="4281547" y="85927"/>
          <a:ext cx="850747" cy="1276120"/>
        </a:xfrm>
        <a:prstGeom prst="rect">
          <a:avLst/>
        </a:prstGeom>
        <a:blipFill dpi="0" rotWithShape="1">
          <a:blip xmlns:r="http://schemas.openxmlformats.org/officeDocument/2006/relationships" r:embed="rId3"/>
          <a:srcRect/>
          <a:stretch>
            <a:fillRect l="-158805" t="1" r="-131957" b="-44727"/>
          </a:stretch>
        </a:blip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769E368-53E5-4E8E-B69A-03672A9154C8}">
      <dsp:nvSpPr>
        <dsp:cNvPr id="0" name=""/>
        <dsp:cNvSpPr/>
      </dsp:nvSpPr>
      <dsp:spPr>
        <a:xfrm>
          <a:off x="167825" y="1791472"/>
          <a:ext cx="3889129" cy="1215353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3199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Обновлена организационная и штатная структура администрации</a:t>
          </a:r>
        </a:p>
      </dsp:txBody>
      <dsp:txXfrm>
        <a:off x="167825" y="1791472"/>
        <a:ext cx="3889129" cy="1215353"/>
      </dsp:txXfrm>
    </dsp:sp>
    <dsp:sp modelId="{E619197E-B2DA-4761-8133-8C4B6CC90C26}">
      <dsp:nvSpPr>
        <dsp:cNvPr id="0" name=""/>
        <dsp:cNvSpPr/>
      </dsp:nvSpPr>
      <dsp:spPr>
        <a:xfrm>
          <a:off x="5778" y="1615921"/>
          <a:ext cx="850747" cy="1276120"/>
        </a:xfrm>
        <a:prstGeom prst="rect">
          <a:avLst/>
        </a:prstGeom>
        <a:blipFill dpi="0" rotWithShape="1">
          <a:blip xmlns:r="http://schemas.openxmlformats.org/officeDocument/2006/relationships" r:embed="rId4"/>
          <a:srcRect/>
          <a:stretch>
            <a:fillRect l="-83132" t="-2087" r="-88196" b="-25897"/>
          </a:stretch>
        </a:blip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82FF04-D952-4661-8566-ECA571AC96EF}">
      <dsp:nvSpPr>
        <dsp:cNvPr id="0" name=""/>
        <dsp:cNvSpPr/>
      </dsp:nvSpPr>
      <dsp:spPr>
        <a:xfrm>
          <a:off x="4443594" y="1791472"/>
          <a:ext cx="3889129" cy="1215353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3199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Созданы территориальные отделы в статусе юридических лиц (сохранилась власть «на местах»)</a:t>
          </a:r>
        </a:p>
      </dsp:txBody>
      <dsp:txXfrm>
        <a:off x="4443594" y="1791472"/>
        <a:ext cx="3889129" cy="1215353"/>
      </dsp:txXfrm>
    </dsp:sp>
    <dsp:sp modelId="{B3779234-9505-4D78-A5A1-9FD9246668F1}">
      <dsp:nvSpPr>
        <dsp:cNvPr id="0" name=""/>
        <dsp:cNvSpPr/>
      </dsp:nvSpPr>
      <dsp:spPr>
        <a:xfrm>
          <a:off x="4281547" y="1615921"/>
          <a:ext cx="850747" cy="1276120"/>
        </a:xfrm>
        <a:prstGeom prst="rect">
          <a:avLst/>
        </a:prstGeom>
        <a:blipFill dpi="0" rotWithShape="1">
          <a:blip xmlns:r="http://schemas.openxmlformats.org/officeDocument/2006/relationships" r:embed="rId5" cstate="hq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  <a14:imgEffect>
                      <a14:brightnessContrast bright="10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72298" t="13324" r="-2422" b="-683"/>
          </a:stretch>
        </a:blip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3F9C3A-6FE0-4954-B027-0E9D013047E3}">
      <dsp:nvSpPr>
        <dsp:cNvPr id="0" name=""/>
        <dsp:cNvSpPr/>
      </dsp:nvSpPr>
      <dsp:spPr>
        <a:xfrm>
          <a:off x="167825" y="3321467"/>
          <a:ext cx="3889129" cy="1215353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3199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Сохранен кадровый потенциал ОМСУ</a:t>
          </a:r>
        </a:p>
      </dsp:txBody>
      <dsp:txXfrm>
        <a:off x="167825" y="3321467"/>
        <a:ext cx="3889129" cy="1215353"/>
      </dsp:txXfrm>
    </dsp:sp>
    <dsp:sp modelId="{2E7014D2-4F40-495B-B25E-5979E0EC6DDE}">
      <dsp:nvSpPr>
        <dsp:cNvPr id="0" name=""/>
        <dsp:cNvSpPr/>
      </dsp:nvSpPr>
      <dsp:spPr>
        <a:xfrm>
          <a:off x="5778" y="3145916"/>
          <a:ext cx="850747" cy="1276120"/>
        </a:xfrm>
        <a:prstGeom prst="rect">
          <a:avLst/>
        </a:prstGeom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9A03B07-7D92-4CF2-8404-D374AF6EE7A9}">
      <dsp:nvSpPr>
        <dsp:cNvPr id="0" name=""/>
        <dsp:cNvSpPr/>
      </dsp:nvSpPr>
      <dsp:spPr>
        <a:xfrm>
          <a:off x="4443594" y="3321467"/>
          <a:ext cx="3889129" cy="1215353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127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3199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Сохранена положительная динамика развития муниципального образования</a:t>
          </a:r>
        </a:p>
      </dsp:txBody>
      <dsp:txXfrm>
        <a:off x="4443594" y="3321467"/>
        <a:ext cx="3889129" cy="1215353"/>
      </dsp:txXfrm>
    </dsp:sp>
    <dsp:sp modelId="{983E29F3-E432-4D02-BE2A-66201044EA01}">
      <dsp:nvSpPr>
        <dsp:cNvPr id="0" name=""/>
        <dsp:cNvSpPr/>
      </dsp:nvSpPr>
      <dsp:spPr>
        <a:xfrm>
          <a:off x="4281547" y="3145916"/>
          <a:ext cx="850747" cy="1276120"/>
        </a:xfrm>
        <a:prstGeom prst="rect">
          <a:avLst/>
        </a:prstGeom>
        <a:blipFill rotWithShape="1">
          <a:blip xmlns:r="http://schemas.openxmlformats.org/officeDocument/2006/relationships" r:embed="rId8" cstate="hq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10000"/>
                    </a14:imgEffect>
                    <a14:imgEffect>
                      <a14:brightnessContrast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54000" r="-54000"/>
          </a:stretch>
        </a:blip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E5530-4D87-4729-BBEA-39E2D308260B}">
      <dsp:nvSpPr>
        <dsp:cNvPr id="0" name=""/>
        <dsp:cNvSpPr/>
      </dsp:nvSpPr>
      <dsp:spPr>
        <a:xfrm>
          <a:off x="0" y="300120"/>
          <a:ext cx="8411887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511617-D860-4112-BE24-2DBD688E828C}">
      <dsp:nvSpPr>
        <dsp:cNvPr id="0" name=""/>
        <dsp:cNvSpPr/>
      </dsp:nvSpPr>
      <dsp:spPr>
        <a:xfrm>
          <a:off x="420594" y="49200"/>
          <a:ext cx="7486293" cy="50184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565" tIns="0" rIns="222565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/>
            <a:t>Разочарование уровнем повышения заработной платы муниципальных служащих</a:t>
          </a:r>
        </a:p>
      </dsp:txBody>
      <dsp:txXfrm>
        <a:off x="445092" y="73698"/>
        <a:ext cx="7437297" cy="452844"/>
      </dsp:txXfrm>
    </dsp:sp>
    <dsp:sp modelId="{2AC23864-79AD-4ACA-B562-4C3867FB2BD5}">
      <dsp:nvSpPr>
        <dsp:cNvPr id="0" name=""/>
        <dsp:cNvSpPr/>
      </dsp:nvSpPr>
      <dsp:spPr>
        <a:xfrm>
          <a:off x="0" y="1071240"/>
          <a:ext cx="8411887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2">
              <a:hueOff val="-2041480"/>
              <a:satOff val="1679"/>
              <a:lumOff val="-109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EBF4A7-424C-49E6-8269-ECCB0EBCB0B3}">
      <dsp:nvSpPr>
        <dsp:cNvPr id="0" name=""/>
        <dsp:cNvSpPr/>
      </dsp:nvSpPr>
      <dsp:spPr>
        <a:xfrm>
          <a:off x="420594" y="820320"/>
          <a:ext cx="7486293" cy="501840"/>
        </a:xfrm>
        <a:prstGeom prst="roundRect">
          <a:avLst/>
        </a:prstGeom>
        <a:solidFill>
          <a:schemeClr val="accent2">
            <a:hueOff val="-2041480"/>
            <a:satOff val="1679"/>
            <a:lumOff val="-1098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565" tIns="0" rIns="222565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/>
            <a:t>Снизился статус глав сельских поселений</a:t>
          </a:r>
        </a:p>
      </dsp:txBody>
      <dsp:txXfrm>
        <a:off x="445092" y="844818"/>
        <a:ext cx="7437297" cy="452844"/>
      </dsp:txXfrm>
    </dsp:sp>
    <dsp:sp modelId="{6FE8A1E5-E3D2-4BEF-B6CD-22E86836404F}">
      <dsp:nvSpPr>
        <dsp:cNvPr id="0" name=""/>
        <dsp:cNvSpPr/>
      </dsp:nvSpPr>
      <dsp:spPr>
        <a:xfrm>
          <a:off x="0" y="1842360"/>
          <a:ext cx="8411887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2">
              <a:hueOff val="-4082960"/>
              <a:satOff val="3359"/>
              <a:lumOff val="-219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20EBD2-976A-4488-984A-01BCD121E996}">
      <dsp:nvSpPr>
        <dsp:cNvPr id="0" name=""/>
        <dsp:cNvSpPr/>
      </dsp:nvSpPr>
      <dsp:spPr>
        <a:xfrm>
          <a:off x="420594" y="1591439"/>
          <a:ext cx="7486293" cy="501840"/>
        </a:xfrm>
        <a:prstGeom prst="roundRect">
          <a:avLst/>
        </a:prstGeom>
        <a:solidFill>
          <a:schemeClr val="accent2">
            <a:hueOff val="-4082960"/>
            <a:satOff val="3359"/>
            <a:lumOff val="-2196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565" tIns="0" rIns="222565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/>
            <a:t>Не все запланированные мероприятия вошли в План социально-экономического развития (уточнения сумм, согласование с ИОГВ)</a:t>
          </a:r>
        </a:p>
      </dsp:txBody>
      <dsp:txXfrm>
        <a:off x="445092" y="1615937"/>
        <a:ext cx="7437297" cy="452844"/>
      </dsp:txXfrm>
    </dsp:sp>
    <dsp:sp modelId="{10B0A2F9-A752-4033-892D-6690F302C3CA}">
      <dsp:nvSpPr>
        <dsp:cNvPr id="0" name=""/>
        <dsp:cNvSpPr/>
      </dsp:nvSpPr>
      <dsp:spPr>
        <a:xfrm>
          <a:off x="0" y="2613480"/>
          <a:ext cx="8411887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2">
              <a:hueOff val="-6124441"/>
              <a:satOff val="5038"/>
              <a:lumOff val="-329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89B1A1-49B3-47AB-A7EC-3E658781F34D}">
      <dsp:nvSpPr>
        <dsp:cNvPr id="0" name=""/>
        <dsp:cNvSpPr/>
      </dsp:nvSpPr>
      <dsp:spPr>
        <a:xfrm>
          <a:off x="420594" y="2362560"/>
          <a:ext cx="7486293" cy="501840"/>
        </a:xfrm>
        <a:prstGeom prst="roundRect">
          <a:avLst/>
        </a:prstGeom>
        <a:solidFill>
          <a:schemeClr val="accent2">
            <a:hueOff val="-6124441"/>
            <a:satOff val="5038"/>
            <a:lumOff val="-3295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565" tIns="0" rIns="222565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/>
            <a:t>Необходимо переименовывать 5 населенных пунктов</a:t>
          </a:r>
        </a:p>
      </dsp:txBody>
      <dsp:txXfrm>
        <a:off x="445092" y="2387058"/>
        <a:ext cx="7437297" cy="452844"/>
      </dsp:txXfrm>
    </dsp:sp>
    <dsp:sp modelId="{94D1A4DC-1819-4510-9B5D-E11335C55985}">
      <dsp:nvSpPr>
        <dsp:cNvPr id="0" name=""/>
        <dsp:cNvSpPr/>
      </dsp:nvSpPr>
      <dsp:spPr>
        <a:xfrm>
          <a:off x="0" y="3384600"/>
          <a:ext cx="8411887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2">
              <a:hueOff val="-8165921"/>
              <a:satOff val="6718"/>
              <a:lumOff val="-439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1CC580-2375-43E6-ACCA-F02579018D0F}">
      <dsp:nvSpPr>
        <dsp:cNvPr id="0" name=""/>
        <dsp:cNvSpPr/>
      </dsp:nvSpPr>
      <dsp:spPr>
        <a:xfrm>
          <a:off x="420594" y="3133680"/>
          <a:ext cx="7486293" cy="501840"/>
        </a:xfrm>
        <a:prstGeom prst="roundRect">
          <a:avLst/>
        </a:prstGeom>
        <a:solidFill>
          <a:schemeClr val="accent2">
            <a:hueOff val="-8165921"/>
            <a:satOff val="6718"/>
            <a:lumOff val="-4393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565" tIns="0" rIns="222565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/>
            <a:t>Изменение адресов (в новых адресах проставляется «Вилегодский муниципальный округ»)</a:t>
          </a:r>
        </a:p>
      </dsp:txBody>
      <dsp:txXfrm>
        <a:off x="445092" y="3158178"/>
        <a:ext cx="7437297" cy="452844"/>
      </dsp:txXfrm>
    </dsp:sp>
    <dsp:sp modelId="{7684F01B-ED04-4EA6-BF1E-451088DC3B7F}">
      <dsp:nvSpPr>
        <dsp:cNvPr id="0" name=""/>
        <dsp:cNvSpPr/>
      </dsp:nvSpPr>
      <dsp:spPr>
        <a:xfrm>
          <a:off x="0" y="4155720"/>
          <a:ext cx="8411887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2">
              <a:hueOff val="-10207401"/>
              <a:satOff val="8397"/>
              <a:lumOff val="-549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6FC6FB-DAF1-4FFA-A013-38A1731A39E3}">
      <dsp:nvSpPr>
        <dsp:cNvPr id="0" name=""/>
        <dsp:cNvSpPr/>
      </dsp:nvSpPr>
      <dsp:spPr>
        <a:xfrm>
          <a:off x="420594" y="3904800"/>
          <a:ext cx="7486293" cy="501840"/>
        </a:xfrm>
        <a:prstGeom prst="roundRect">
          <a:avLst/>
        </a:prstGeom>
        <a:solidFill>
          <a:schemeClr val="accent2">
            <a:hueOff val="-10207401"/>
            <a:satOff val="8397"/>
            <a:lumOff val="-5491"/>
            <a:alphaOff val="0"/>
          </a:schemeClr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565" tIns="0" rIns="222565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/>
            <a:t>Население не увидело позитивных перемен (или не ассоциирует их с созданием муниципального округа)</a:t>
          </a:r>
        </a:p>
      </dsp:txBody>
      <dsp:txXfrm>
        <a:off x="445092" y="3929298"/>
        <a:ext cx="7437297" cy="4528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72C6AB-E30E-4599-A973-AF86DED22FA3}" type="datetimeFigureOut">
              <a:rPr lang="ru-RU" smtClean="0"/>
              <a:pPr/>
              <a:t>20.11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C78E4C-E0EA-47D3-B1C4-EC02264784A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15351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8091" y="3085765"/>
            <a:ext cx="8240108" cy="3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2" y="990600"/>
            <a:ext cx="7989752" cy="1504844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2" y="2495444"/>
            <a:ext cx="7989752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026F96AE-E6D9-4F9E-98EB-94E85C8D448B}" type="datetimeFigureOut">
              <a:rPr lang="ru-RU" smtClean="0"/>
              <a:pPr/>
              <a:t>20.11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7C2EBA5C-CDC8-4D70-9D8C-EE57C7F64D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7226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8092" y="599725"/>
            <a:ext cx="8238707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F96AE-E6D9-4F9E-98EB-94E85C8D448B}" type="datetimeFigureOut">
              <a:rPr lang="ru-RU" smtClean="0"/>
              <a:pPr/>
              <a:t>20.11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2EBA5C-CDC8-4D70-9D8C-EE57C7F64D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5754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6629400" y="599725"/>
            <a:ext cx="2057399" cy="58169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75725"/>
            <a:ext cx="1503123" cy="518307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1192" y="675725"/>
            <a:ext cx="5922209" cy="5183073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745255" y="5956136"/>
            <a:ext cx="947672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026F96AE-E6D9-4F9E-98EB-94E85C8D448B}" type="datetimeFigureOut">
              <a:rPr lang="ru-RU" smtClean="0"/>
              <a:pPr/>
              <a:t>20.11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1192" y="5951810"/>
            <a:ext cx="5922209" cy="365125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7C2EBA5C-CDC8-4D70-9D8C-EE57C7F64D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66832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8092" y="599725"/>
            <a:ext cx="8238707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228003"/>
            <a:ext cx="7989752" cy="363079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F96AE-E6D9-4F9E-98EB-94E85C8D448B}" type="datetimeFigureOut">
              <a:rPr lang="ru-RU" smtClean="0"/>
              <a:pPr/>
              <a:t>20.11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2EBA5C-CDC8-4D70-9D8C-EE57C7F64D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79096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52646" y="5141973"/>
            <a:ext cx="8238707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3036573"/>
            <a:ext cx="7989751" cy="1504844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3" y="4541417"/>
            <a:ext cx="7989751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026F96AE-E6D9-4F9E-98EB-94E85C8D448B}" type="datetimeFigureOut">
              <a:rPr lang="ru-RU" smtClean="0"/>
              <a:pPr/>
              <a:t>20.11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7C2EBA5C-CDC8-4D70-9D8C-EE57C7F64D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409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8092" y="599725"/>
            <a:ext cx="8238707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2" y="2228002"/>
            <a:ext cx="3899527" cy="363304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282" y="2228003"/>
            <a:ext cx="3907662" cy="363304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F96AE-E6D9-4F9E-98EB-94E85C8D448B}" type="datetimeFigureOut">
              <a:rPr lang="ru-RU" smtClean="0"/>
              <a:pPr/>
              <a:t>20.11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2EBA5C-CDC8-4D70-9D8C-EE57C7F64D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75912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spect="1"/>
          </p:cNvSpPr>
          <p:nvPr/>
        </p:nvSpPr>
        <p:spPr>
          <a:xfrm>
            <a:off x="448092" y="599725"/>
            <a:ext cx="8238707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219" y="2228003"/>
            <a:ext cx="3593500" cy="576262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192" y="2926051"/>
            <a:ext cx="3899527" cy="2934999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69308" y="2228003"/>
            <a:ext cx="3601635" cy="576262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282" y="2926051"/>
            <a:ext cx="3907662" cy="2934999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F96AE-E6D9-4F9E-98EB-94E85C8D448B}" type="datetimeFigureOut">
              <a:rPr lang="ru-RU" smtClean="0"/>
              <a:pPr/>
              <a:t>20.11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2EBA5C-CDC8-4D70-9D8C-EE57C7F64D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20352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spect="1"/>
          </p:cNvSpPr>
          <p:nvPr/>
        </p:nvSpPr>
        <p:spPr>
          <a:xfrm>
            <a:off x="448092" y="599725"/>
            <a:ext cx="8238707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F96AE-E6D9-4F9E-98EB-94E85C8D448B}" type="datetimeFigureOut">
              <a:rPr lang="ru-RU" smtClean="0"/>
              <a:pPr/>
              <a:t>20.11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2EBA5C-CDC8-4D70-9D8C-EE57C7F64D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5606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F96AE-E6D9-4F9E-98EB-94E85C8D448B}" type="datetimeFigureOut">
              <a:rPr lang="ru-RU" smtClean="0"/>
              <a:pPr/>
              <a:t>20.11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2EBA5C-CDC8-4D70-9D8C-EE57C7F64D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63530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452646" y="5141973"/>
            <a:ext cx="8238707" cy="12747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352" y="5262296"/>
            <a:ext cx="3536625" cy="689514"/>
          </a:xfrm>
        </p:spPr>
        <p:txBody>
          <a:bodyPr anchor="ctr"/>
          <a:lstStyle>
            <a:lvl1pPr algn="l">
              <a:defRPr sz="2000" b="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6399" y="601200"/>
            <a:ext cx="8240400" cy="4204800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305617" y="5262295"/>
            <a:ext cx="4265327" cy="689515"/>
          </a:xfrm>
        </p:spPr>
        <p:txBody>
          <a:bodyPr anchor="ctr">
            <a:norm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026F96AE-E6D9-4F9E-98EB-94E85C8D448B}" type="datetimeFigureOut">
              <a:rPr lang="ru-RU" smtClean="0"/>
              <a:pPr/>
              <a:t>20.11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7C2EBA5C-CDC8-4D70-9D8C-EE57C7F64D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24531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4693389"/>
            <a:ext cx="7989752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8093" y="599725"/>
            <a:ext cx="8238706" cy="3557252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1192" y="5260126"/>
            <a:ext cx="7989752" cy="59867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6F96AE-E6D9-4F9E-98EB-94E85C8D448B}" type="datetimeFigureOut">
              <a:rPr lang="ru-RU" smtClean="0"/>
              <a:pPr/>
              <a:t>20.11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2EBA5C-CDC8-4D70-9D8C-EE57C7F64D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69249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687474"/>
            <a:ext cx="7989752" cy="10833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228003"/>
            <a:ext cx="7989752" cy="36307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59327" y="595613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026F96AE-E6D9-4F9E-98EB-94E85C8D448B}" type="datetimeFigureOut">
              <a:rPr lang="ru-RU" smtClean="0"/>
              <a:pPr/>
              <a:t>20.11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5951810"/>
            <a:ext cx="48705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accent2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00476" y="5956136"/>
            <a:ext cx="7704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7C2EBA5C-CDC8-4D70-9D8C-EE57C7F64DA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Rectangle 8"/>
          <p:cNvSpPr/>
          <p:nvPr/>
        </p:nvSpPr>
        <p:spPr>
          <a:xfrm>
            <a:off x="448091" y="441325"/>
            <a:ext cx="2719909" cy="10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5976001" y="441325"/>
            <a:ext cx="2710800" cy="10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3216601" y="441325"/>
            <a:ext cx="2710800" cy="10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469289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2800" b="0" kern="1200" cap="all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://ru.wikipedia.org/wiki/%D0%A4%D0%B0%D0%B9%D0%BB:Coat_of_Arms_of_Vilegodsky_rayon_(Arkhangelsk_oblast).png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://ru.wikipedia.org/wiki/%D0%A4%D0%B0%D0%B9%D0%BB:Coat_of_Arms_of_Vilegodsky_rayon_(Arkhangelsk_oblast).png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3.xml"/><Relationship Id="rId2" Type="http://schemas.openxmlformats.org/officeDocument/2006/relationships/hyperlink" Target="http://ru.wikipedia.org/wiki/%D0%A4%D0%B0%D0%B9%D0%BB:Coat_of_Arms_of_Vilegodsky_rayon_(Arkhangelsk_oblast).png" TargetMode="Externa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4.xml"/><Relationship Id="rId2" Type="http://schemas.openxmlformats.org/officeDocument/2006/relationships/hyperlink" Target="http://ru.wikipedia.org/wiki/%D0%A4%D0%B0%D0%B9%D0%BB:Coat_of_Arms_of_Vilegodsky_rayon_(Arkhangelsk_oblast).png" TargetMode="Externa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5.xml"/><Relationship Id="rId2" Type="http://schemas.openxmlformats.org/officeDocument/2006/relationships/hyperlink" Target="http://ru.wikipedia.org/wiki/%D0%A4%D0%B0%D0%B9%D0%BB:Coat_of_Arms_of_Vilegodsky_rayon_(Arkhangelsk_oblast).png" TargetMode="Externa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://ru.wikipedia.org/wiki/%D0%A4%D0%B0%D0%B9%D0%BB:Coat_of_Arms_of_Vilegodsky_rayon_(Arkhangelsk_oblast).png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image" Target="../media/image2.jpe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.xml"/><Relationship Id="rId2" Type="http://schemas.openxmlformats.org/officeDocument/2006/relationships/hyperlink" Target="http://ru.wikipedia.org/wiki/%D0%A4%D0%B0%D0%B9%D0%BB:Coat_of_Arms_of_Vilegodsky_rayon_(Arkhangelsk_oblast).png" TargetMode="Externa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://ru.wikipedia.org/wiki/%D0%A4%D0%B0%D0%B9%D0%BB:Coat_of_Arms_of_Vilegodsky_rayon_(Arkhangelsk_oblast).png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2.xml"/><Relationship Id="rId2" Type="http://schemas.openxmlformats.org/officeDocument/2006/relationships/hyperlink" Target="http://ru.wikipedia.org/wiki/%D0%A4%D0%B0%D0%B9%D0%BB:Coat_of_Arms_of_Vilegodsky_rayon_(Arkhangelsk_oblast).png" TargetMode="Externa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://ru.wikipedia.org/wiki/%D0%A4%D0%B0%D0%B9%D0%BB:Coat_of_Arms_of_Vilegodsky_rayon_(Arkhangelsk_oblast).png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://ru.wikipedia.org/wiki/%D0%A4%D0%B0%D0%B9%D0%BB:Coat_of_Arms_of_Vilegodsky_rayon_(Arkhangelsk_oblast).png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://ru.wikipedia.org/wiki/%D0%A4%D0%B0%D0%B9%D0%BB:Coat_of_Arms_of_Vilegodsky_rayon_(Arkhangelsk_oblast).png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100px-Coat_of_Arms_of_Vilegodsky_rayon_%28Arkhangelsk_oblast%29">
            <a:hlinkClick r:id="rId2" tooltip="Coat of Arms of Vilegodsky rayon (Arkhangelsk oblast).png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70646" y="1150088"/>
            <a:ext cx="1497013" cy="187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48408" y="633046"/>
            <a:ext cx="6722238" cy="2461846"/>
          </a:xfrm>
        </p:spPr>
        <p:txBody>
          <a:bodyPr>
            <a:noAutofit/>
          </a:bodyPr>
          <a:lstStyle/>
          <a:p>
            <a:r>
              <a:rPr lang="ru-RU" b="1" dirty="0"/>
              <a:t>О практике преобразования муниципального района</a:t>
            </a:r>
            <a:br>
              <a:rPr lang="ru-RU" b="1" dirty="0"/>
            </a:br>
            <a:r>
              <a:rPr lang="ru-RU" b="1" dirty="0"/>
              <a:t>в муниципальный округ </a:t>
            </a:r>
            <a:endParaRPr lang="ru-RU" sz="1800" b="1" dirty="0">
              <a:solidFill>
                <a:srgbClr val="005C2A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81192" y="5484829"/>
            <a:ext cx="7989752" cy="590321"/>
          </a:xfrm>
        </p:spPr>
        <p:txBody>
          <a:bodyPr>
            <a:normAutofit fontScale="85000" lnSpcReduction="20000"/>
          </a:bodyPr>
          <a:lstStyle/>
          <a:p>
            <a:pPr algn="r"/>
            <a:r>
              <a:rPr lang="ru-RU" b="1" dirty="0">
                <a:solidFill>
                  <a:srgbClr val="071823"/>
                </a:solidFill>
              </a:rPr>
              <a:t>Глава Вилегодского муниципального округа Архангельской области</a:t>
            </a:r>
          </a:p>
          <a:p>
            <a:pPr algn="r"/>
            <a:r>
              <a:rPr lang="ru-RU" b="1" dirty="0">
                <a:solidFill>
                  <a:srgbClr val="071823"/>
                </a:solidFill>
              </a:rPr>
              <a:t>		 А.Ю. Аксенов</a:t>
            </a:r>
          </a:p>
        </p:txBody>
      </p:sp>
    </p:spTree>
    <p:extLst>
      <p:ext uri="{BB962C8B-B14F-4D97-AF65-F5344CB8AC3E}">
        <p14:creationId xmlns:p14="http://schemas.microsoft.com/office/powerpoint/2010/main" val="17731582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672FB9-5B9D-4705-8286-B1207F102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b="1" dirty="0"/>
              <a:t>Основные задачи Территориального отдела</a:t>
            </a:r>
            <a:endParaRPr lang="ru-RU" sz="2700" b="1" dirty="0"/>
          </a:p>
        </p:txBody>
      </p:sp>
      <p:pic>
        <p:nvPicPr>
          <p:cNvPr id="4" name="Picture 10" descr="100px-Coat_of_Arms_of_Vilegodsky_rayon_%28Arkhangelsk_oblast%29">
            <a:hlinkClick r:id="rId2" tooltip="Coat of Arms of Vilegodsky rayon (Arkhangelsk oblast).png"/>
            <a:extLst>
              <a:ext uri="{FF2B5EF4-FFF2-40B4-BE49-F238E27FC236}">
                <a16:creationId xmlns:a16="http://schemas.microsoft.com/office/drawing/2014/main" id="{F4FF01EF-4137-476C-B157-649AE8237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92347" y="994869"/>
            <a:ext cx="845651" cy="105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EA1D579-8075-4590-BEC3-8F8A22FF96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04855"/>
            <a:ext cx="9144000" cy="6453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7738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672FB9-5B9D-4705-8286-B1207F102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070" y="696352"/>
            <a:ext cx="7989752" cy="1083329"/>
          </a:xfrm>
        </p:spPr>
        <p:txBody>
          <a:bodyPr>
            <a:normAutofit/>
          </a:bodyPr>
          <a:lstStyle/>
          <a:p>
            <a:r>
              <a:rPr lang="ru-RU" sz="2700" b="1" dirty="0"/>
              <a:t>Проблемы в процессе преобразования</a:t>
            </a:r>
            <a:br>
              <a:rPr lang="ru-RU" sz="2700" b="1" dirty="0"/>
            </a:br>
            <a:endParaRPr lang="ru-RU" sz="2700" b="1" dirty="0"/>
          </a:p>
        </p:txBody>
      </p:sp>
      <p:pic>
        <p:nvPicPr>
          <p:cNvPr id="4" name="Picture 10" descr="100px-Coat_of_Arms_of_Vilegodsky_rayon_%28Arkhangelsk_oblast%29">
            <a:hlinkClick r:id="rId2" tooltip="Coat of Arms of Vilegodsky rayon (Arkhangelsk oblast).png"/>
            <a:extLst>
              <a:ext uri="{FF2B5EF4-FFF2-40B4-BE49-F238E27FC236}">
                <a16:creationId xmlns:a16="http://schemas.microsoft.com/office/drawing/2014/main" id="{F4FF01EF-4137-476C-B157-649AE8237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92347" y="994869"/>
            <a:ext cx="845651" cy="105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087C8A52-A27A-4A31-9C95-50DC5ED54B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44318451"/>
              </p:ext>
            </p:extLst>
          </p:nvPr>
        </p:nvGraphicFramePr>
        <p:xfrm>
          <a:off x="406002" y="1500326"/>
          <a:ext cx="8471668" cy="52467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279889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672FB9-5B9D-4705-8286-B1207F102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b="1" dirty="0"/>
              <a:t>Положительные результаты преобразования</a:t>
            </a:r>
          </a:p>
        </p:txBody>
      </p:sp>
      <p:pic>
        <p:nvPicPr>
          <p:cNvPr id="4" name="Picture 10" descr="100px-Coat_of_Arms_of_Vilegodsky_rayon_%28Arkhangelsk_oblast%29">
            <a:hlinkClick r:id="rId2" tooltip="Coat of Arms of Vilegodsky rayon (Arkhangelsk oblast).png"/>
            <a:extLst>
              <a:ext uri="{FF2B5EF4-FFF2-40B4-BE49-F238E27FC236}">
                <a16:creationId xmlns:a16="http://schemas.microsoft.com/office/drawing/2014/main" id="{F4FF01EF-4137-476C-B157-649AE8237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92347" y="994869"/>
            <a:ext cx="845651" cy="105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9A496F03-9468-45DC-A289-339A9420A9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4085409"/>
              </p:ext>
            </p:extLst>
          </p:nvPr>
        </p:nvGraphicFramePr>
        <p:xfrm>
          <a:off x="399495" y="2106526"/>
          <a:ext cx="8338503" cy="46227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0894225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672FB9-5B9D-4705-8286-B1207F102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400" b="1" dirty="0"/>
              <a:t>Отрицательные результаты преобразования (обманутые ожидания)</a:t>
            </a:r>
          </a:p>
        </p:txBody>
      </p:sp>
      <p:pic>
        <p:nvPicPr>
          <p:cNvPr id="4" name="Picture 10" descr="100px-Coat_of_Arms_of_Vilegodsky_rayon_%28Arkhangelsk_oblast%29">
            <a:hlinkClick r:id="rId2" tooltip="Coat of Arms of Vilegodsky rayon (Arkhangelsk oblast).png"/>
            <a:extLst>
              <a:ext uri="{FF2B5EF4-FFF2-40B4-BE49-F238E27FC236}">
                <a16:creationId xmlns:a16="http://schemas.microsoft.com/office/drawing/2014/main" id="{F4FF01EF-4137-476C-B157-649AE8237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92347" y="994869"/>
            <a:ext cx="845651" cy="105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Схема 10">
            <a:extLst>
              <a:ext uri="{FF2B5EF4-FFF2-40B4-BE49-F238E27FC236}">
                <a16:creationId xmlns:a16="http://schemas.microsoft.com/office/drawing/2014/main" id="{8FA6FCC5-22C2-4C4F-8A14-327DEA3A17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7160660"/>
              </p:ext>
            </p:extLst>
          </p:nvPr>
        </p:nvGraphicFramePr>
        <p:xfrm>
          <a:off x="403638" y="2081308"/>
          <a:ext cx="8411887" cy="46333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661159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672FB9-5B9D-4705-8286-B1207F102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5230"/>
            <a:ext cx="7989752" cy="1083329"/>
          </a:xfrm>
        </p:spPr>
        <p:txBody>
          <a:bodyPr>
            <a:noAutofit/>
          </a:bodyPr>
          <a:lstStyle/>
          <a:p>
            <a:r>
              <a:rPr lang="ru-RU" sz="2400" b="1" dirty="0">
                <a:latin typeface="+mn-lt"/>
              </a:rPr>
              <a:t>Реализация в 2021 году плана мероприятий</a:t>
            </a:r>
            <a:br>
              <a:rPr lang="ru-RU" sz="2400" b="1" dirty="0">
                <a:latin typeface="+mn-lt"/>
              </a:rPr>
            </a:br>
            <a:r>
              <a:rPr lang="ru-RU" sz="2400" b="1" dirty="0">
                <a:latin typeface="+mn-lt"/>
              </a:rPr>
              <a:t>по социально-экономическому развитию Вилегодского муниципального округа</a:t>
            </a:r>
          </a:p>
        </p:txBody>
      </p:sp>
      <p:pic>
        <p:nvPicPr>
          <p:cNvPr id="4" name="Picture 10" descr="100px-Coat_of_Arms_of_Vilegodsky_rayon_%28Arkhangelsk_oblast%29">
            <a:hlinkClick r:id="rId2" tooltip="Coat of Arms of Vilegodsky rayon (Arkhangelsk oblast).png"/>
            <a:extLst>
              <a:ext uri="{FF2B5EF4-FFF2-40B4-BE49-F238E27FC236}">
                <a16:creationId xmlns:a16="http://schemas.microsoft.com/office/drawing/2014/main" id="{F4FF01EF-4137-476C-B157-649AE8237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92347" y="994869"/>
            <a:ext cx="845651" cy="105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AC8EB4AE-E659-44AA-A7B5-A3C1E0637C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2274120"/>
              </p:ext>
            </p:extLst>
          </p:nvPr>
        </p:nvGraphicFramePr>
        <p:xfrm>
          <a:off x="470516" y="2152049"/>
          <a:ext cx="8282609" cy="451026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480767">
                  <a:extLst>
                    <a:ext uri="{9D8B030D-6E8A-4147-A177-3AD203B41FA5}">
                      <a16:colId xmlns:a16="http://schemas.microsoft.com/office/drawing/2014/main" val="3963149071"/>
                    </a:ext>
                  </a:extLst>
                </a:gridCol>
                <a:gridCol w="6550873">
                  <a:extLst>
                    <a:ext uri="{9D8B030D-6E8A-4147-A177-3AD203B41FA5}">
                      <a16:colId xmlns:a16="http://schemas.microsoft.com/office/drawing/2014/main" val="4294782836"/>
                    </a:ext>
                  </a:extLst>
                </a:gridCol>
                <a:gridCol w="1250969">
                  <a:extLst>
                    <a:ext uri="{9D8B030D-6E8A-4147-A177-3AD203B41FA5}">
                      <a16:colId xmlns:a16="http://schemas.microsoft.com/office/drawing/2014/main" val="1967690239"/>
                    </a:ext>
                  </a:extLst>
                </a:gridCol>
              </a:tblGrid>
              <a:tr h="630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b="1" u="none" strike="noStrike" dirty="0">
                          <a:effectLst/>
                        </a:rPr>
                        <a:t>№</a:t>
                      </a:r>
                      <a:br>
                        <a:rPr lang="ru-RU" sz="1650" b="1" u="none" strike="noStrike" dirty="0">
                          <a:effectLst/>
                        </a:rPr>
                      </a:br>
                      <a:r>
                        <a:rPr lang="ru-RU" sz="1650" b="1" u="none" strike="noStrike" dirty="0">
                          <a:effectLst/>
                        </a:rPr>
                        <a:t>п/п</a:t>
                      </a:r>
                      <a:endParaRPr lang="ru-RU" sz="16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b="1" u="none" strike="noStrike" dirty="0">
                          <a:effectLst/>
                        </a:rPr>
                        <a:t>Мероприятие</a:t>
                      </a:r>
                      <a:endParaRPr lang="ru-RU" sz="16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b="1" u="none" strike="noStrike" dirty="0">
                          <a:effectLst/>
                        </a:rPr>
                        <a:t>Стоимость</a:t>
                      </a:r>
                      <a:endParaRPr lang="ru-RU" sz="16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extLst>
                  <a:ext uri="{0D108BD9-81ED-4DB2-BD59-A6C34878D82A}">
                    <a16:rowId xmlns:a16="http://schemas.microsoft.com/office/drawing/2014/main" val="2765276159"/>
                  </a:ext>
                </a:extLst>
              </a:tr>
              <a:tr h="31883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>
                          <a:effectLst/>
                        </a:rPr>
                        <a:t>1</a:t>
                      </a:r>
                      <a:endParaRPr lang="ru-RU" sz="16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50" u="none" strike="noStrike" dirty="0">
                          <a:effectLst/>
                        </a:rPr>
                        <a:t>Капитальный ремонт котельных в с. Ильинско-Подомское</a:t>
                      </a:r>
                      <a:endParaRPr lang="ru-RU" sz="16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>
                          <a:effectLst/>
                        </a:rPr>
                        <a:t>2,69</a:t>
                      </a:r>
                      <a:endParaRPr lang="ru-RU" sz="16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extLst>
                  <a:ext uri="{0D108BD9-81ED-4DB2-BD59-A6C34878D82A}">
                    <a16:rowId xmlns:a16="http://schemas.microsoft.com/office/drawing/2014/main" val="617603759"/>
                  </a:ext>
                </a:extLst>
              </a:tr>
              <a:tr h="4251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>
                          <a:effectLst/>
                        </a:rPr>
                        <a:t>2</a:t>
                      </a:r>
                      <a:endParaRPr lang="ru-RU" sz="16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50" u="none" strike="noStrike" dirty="0">
                          <a:effectLst/>
                        </a:rPr>
                        <a:t>Капитальный ремонт тепловых сетей  в пос. Сорово </a:t>
                      </a:r>
                      <a:endParaRPr lang="ru-RU" sz="16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>
                          <a:effectLst/>
                        </a:rPr>
                        <a:t>3,11</a:t>
                      </a:r>
                      <a:endParaRPr lang="ru-RU" sz="16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extLst>
                  <a:ext uri="{0D108BD9-81ED-4DB2-BD59-A6C34878D82A}">
                    <a16:rowId xmlns:a16="http://schemas.microsoft.com/office/drawing/2014/main" val="3130121684"/>
                  </a:ext>
                </a:extLst>
              </a:tr>
              <a:tr h="31883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>
                          <a:effectLst/>
                        </a:rPr>
                        <a:t>3</a:t>
                      </a:r>
                      <a:endParaRPr lang="ru-RU" sz="16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50" u="none" strike="noStrike" dirty="0">
                          <a:effectLst/>
                        </a:rPr>
                        <a:t>Проектирование строительства многоквартирного жилого дома в с. Ильинско-Подомское</a:t>
                      </a:r>
                      <a:endParaRPr lang="ru-RU" sz="16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>
                          <a:effectLst/>
                        </a:rPr>
                        <a:t>1,31</a:t>
                      </a:r>
                      <a:endParaRPr lang="ru-RU" sz="16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extLst>
                  <a:ext uri="{0D108BD9-81ED-4DB2-BD59-A6C34878D82A}">
                    <a16:rowId xmlns:a16="http://schemas.microsoft.com/office/drawing/2014/main" val="2975269835"/>
                  </a:ext>
                </a:extLst>
              </a:tr>
              <a:tr h="6376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>
                          <a:effectLst/>
                        </a:rPr>
                        <a:t>4</a:t>
                      </a:r>
                      <a:endParaRPr lang="ru-RU" sz="16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50" u="none" strike="noStrike" dirty="0">
                          <a:effectLst/>
                        </a:rPr>
                        <a:t>Проектирование строительства инженерной инфраструктуры для обеспечения площадки компактной застройки</a:t>
                      </a:r>
                      <a:endParaRPr lang="ru-RU" sz="16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>
                          <a:effectLst/>
                        </a:rPr>
                        <a:t>4,10</a:t>
                      </a:r>
                      <a:endParaRPr lang="ru-RU" sz="16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extLst>
                  <a:ext uri="{0D108BD9-81ED-4DB2-BD59-A6C34878D82A}">
                    <a16:rowId xmlns:a16="http://schemas.microsoft.com/office/drawing/2014/main" val="252194503"/>
                  </a:ext>
                </a:extLst>
              </a:tr>
              <a:tr h="4251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>
                          <a:effectLst/>
                        </a:rPr>
                        <a:t>5</a:t>
                      </a:r>
                      <a:endParaRPr lang="ru-RU" sz="16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50" u="none" strike="noStrike" dirty="0">
                          <a:effectLst/>
                        </a:rPr>
                        <a:t>Строительство «под ключ» МКД в с. Ильинско-Подомское, ул. Советская, площадью 6500 кв. м</a:t>
                      </a:r>
                      <a:endParaRPr lang="ru-RU" sz="16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>
                          <a:effectLst/>
                        </a:rPr>
                        <a:t>0,77</a:t>
                      </a:r>
                      <a:endParaRPr lang="ru-RU" sz="16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extLst>
                  <a:ext uri="{0D108BD9-81ED-4DB2-BD59-A6C34878D82A}">
                    <a16:rowId xmlns:a16="http://schemas.microsoft.com/office/drawing/2014/main" val="1764265383"/>
                  </a:ext>
                </a:extLst>
              </a:tr>
              <a:tr h="4251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>
                          <a:effectLst/>
                        </a:rPr>
                        <a:t>6</a:t>
                      </a:r>
                      <a:endParaRPr lang="ru-RU" sz="16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50" u="none" strike="noStrike" dirty="0">
                          <a:effectLst/>
                        </a:rPr>
                        <a:t>Обустройство антенно-мачтового сооружения сотовой связи в п. Широкий Прилук</a:t>
                      </a:r>
                      <a:endParaRPr lang="ru-RU" sz="16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>
                          <a:effectLst/>
                        </a:rPr>
                        <a:t>1,93</a:t>
                      </a:r>
                      <a:endParaRPr lang="ru-RU" sz="16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extLst>
                  <a:ext uri="{0D108BD9-81ED-4DB2-BD59-A6C34878D82A}">
                    <a16:rowId xmlns:a16="http://schemas.microsoft.com/office/drawing/2014/main" val="653414387"/>
                  </a:ext>
                </a:extLst>
              </a:tr>
              <a:tr h="2125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>
                          <a:effectLst/>
                        </a:rPr>
                        <a:t>7</a:t>
                      </a:r>
                      <a:endParaRPr lang="ru-RU" sz="16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50" u="none" strike="noStrike" dirty="0">
                          <a:effectLst/>
                        </a:rPr>
                        <a:t>Проектирование лыжной базы в с. Ильинско-Подомское</a:t>
                      </a:r>
                      <a:endParaRPr lang="ru-RU" sz="16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 dirty="0">
                          <a:effectLst/>
                        </a:rPr>
                        <a:t>0,22</a:t>
                      </a:r>
                      <a:endParaRPr lang="ru-RU" sz="16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extLst>
                  <a:ext uri="{0D108BD9-81ED-4DB2-BD59-A6C34878D82A}">
                    <a16:rowId xmlns:a16="http://schemas.microsoft.com/office/drawing/2014/main" val="2723248501"/>
                  </a:ext>
                </a:extLst>
              </a:tr>
              <a:tr h="31883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>
                          <a:effectLst/>
                        </a:rPr>
                        <a:t>8</a:t>
                      </a:r>
                      <a:endParaRPr lang="ru-RU" sz="16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50" u="none" strike="noStrike" dirty="0">
                          <a:effectLst/>
                        </a:rPr>
                        <a:t>Ремонт автомобильных дорог общего пользования местного значения</a:t>
                      </a:r>
                      <a:endParaRPr lang="ru-RU" sz="16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 dirty="0">
                          <a:effectLst/>
                        </a:rPr>
                        <a:t>1,00</a:t>
                      </a:r>
                      <a:endParaRPr lang="ru-RU" sz="16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extLst>
                  <a:ext uri="{0D108BD9-81ED-4DB2-BD59-A6C34878D82A}">
                    <a16:rowId xmlns:a16="http://schemas.microsoft.com/office/drawing/2014/main" val="3596827390"/>
                  </a:ext>
                </a:extLst>
              </a:tr>
              <a:tr h="2125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>
                          <a:effectLst/>
                        </a:rPr>
                        <a:t>9</a:t>
                      </a:r>
                      <a:endParaRPr lang="ru-RU" sz="16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50" u="none" strike="noStrike" dirty="0">
                          <a:effectLst/>
                        </a:rPr>
                        <a:t>Приобретение автотранспорта для нужд муниципального образования</a:t>
                      </a:r>
                      <a:endParaRPr lang="ru-RU" sz="16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u="none" strike="noStrike" dirty="0">
                          <a:effectLst/>
                        </a:rPr>
                        <a:t>2,86</a:t>
                      </a:r>
                      <a:endParaRPr lang="ru-RU" sz="16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extLst>
                  <a:ext uri="{0D108BD9-81ED-4DB2-BD59-A6C34878D82A}">
                    <a16:rowId xmlns:a16="http://schemas.microsoft.com/office/drawing/2014/main" val="2419291618"/>
                  </a:ext>
                </a:extLst>
              </a:tr>
              <a:tr h="125033">
                <a:tc>
                  <a:txBody>
                    <a:bodyPr/>
                    <a:lstStyle/>
                    <a:p>
                      <a:pPr algn="l" fontAlgn="b"/>
                      <a:r>
                        <a:rPr lang="ru-RU" sz="1650" b="1" u="none" strike="noStrike" dirty="0">
                          <a:effectLst/>
                        </a:rPr>
                        <a:t> </a:t>
                      </a:r>
                      <a:endParaRPr lang="ru-RU" sz="16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2" marR="6252" marT="6252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50" b="1" u="none" strike="noStrike" dirty="0">
                          <a:effectLst/>
                        </a:rPr>
                        <a:t>ВСЕГО</a:t>
                      </a:r>
                      <a:endParaRPr lang="ru-RU" sz="16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50" b="1" u="none" strike="noStrike" dirty="0">
                          <a:effectLst/>
                        </a:rPr>
                        <a:t>18,00</a:t>
                      </a:r>
                      <a:endParaRPr lang="ru-RU" sz="16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52" marR="6252" marT="6252" marB="0" anchor="ctr"/>
                </a:tc>
                <a:extLst>
                  <a:ext uri="{0D108BD9-81ED-4DB2-BD59-A6C34878D82A}">
                    <a16:rowId xmlns:a16="http://schemas.microsoft.com/office/drawing/2014/main" val="7134234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92999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Заголовок 1">
            <a:extLst>
              <a:ext uri="{FF2B5EF4-FFF2-40B4-BE49-F238E27FC236}">
                <a16:creationId xmlns:a16="http://schemas.microsoft.com/office/drawing/2014/main" id="{FB98872E-25BD-4A6F-83EA-3059ADF476E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/>
        <p:txBody>
          <a:bodyPr wrap="square" numCol="1" anchorCtr="0" compatLnSpc="1">
            <a:prstTxWarp prst="textNoShape">
              <a:avLst/>
            </a:prstTxWarp>
            <a:normAutofit/>
          </a:bodyPr>
          <a:lstStyle/>
          <a:p>
            <a:pPr eaLnBrk="1" hangingPunct="1"/>
            <a:r>
              <a:rPr lang="ru-RU" altLang="ru-RU" sz="2600" b="1" cap="none" dirty="0"/>
              <a:t>ОБЩАЯ ИНФОРМАЦИЯ О МУНИЦИПАЛЬНОМ ОБРАЗОВАНИИ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34D9A11B-8167-4685-9B60-8F107BB02790}"/>
              </a:ext>
            </a:extLst>
          </p:cNvPr>
          <p:cNvGrpSpPr/>
          <p:nvPr/>
        </p:nvGrpSpPr>
        <p:grpSpPr>
          <a:xfrm>
            <a:off x="392113" y="1871663"/>
            <a:ext cx="2795587" cy="2384425"/>
            <a:chOff x="392113" y="1871663"/>
            <a:chExt cx="2795587" cy="2384425"/>
          </a:xfrm>
        </p:grpSpPr>
        <p:sp>
          <p:nvSpPr>
            <p:cNvPr id="14339" name="Freeform 7">
              <a:extLst>
                <a:ext uri="{FF2B5EF4-FFF2-40B4-BE49-F238E27FC236}">
                  <a16:creationId xmlns:a16="http://schemas.microsoft.com/office/drawing/2014/main" id="{6112A0C2-E50E-4550-A128-8BFCC18A5D03}"/>
                </a:ext>
              </a:extLst>
            </p:cNvPr>
            <p:cNvSpPr>
              <a:spLocks noChangeAspect="1"/>
            </p:cNvSpPr>
            <p:nvPr>
              <p:custDataLst>
                <p:tags r:id="rId1"/>
              </p:custDataLst>
            </p:nvPr>
          </p:nvSpPr>
          <p:spPr bwMode="auto">
            <a:xfrm>
              <a:off x="1255713" y="3675063"/>
              <a:ext cx="554037" cy="500062"/>
            </a:xfrm>
            <a:custGeom>
              <a:avLst/>
              <a:gdLst>
                <a:gd name="T0" fmla="*/ 2147483646 w 67"/>
                <a:gd name="T1" fmla="*/ 2147483646 h 63"/>
                <a:gd name="T2" fmla="*/ 2147483646 w 67"/>
                <a:gd name="T3" fmla="*/ 2147483646 h 63"/>
                <a:gd name="T4" fmla="*/ 2147483646 w 67"/>
                <a:gd name="T5" fmla="*/ 2147483646 h 63"/>
                <a:gd name="T6" fmla="*/ 2147483646 w 67"/>
                <a:gd name="T7" fmla="*/ 2147483646 h 63"/>
                <a:gd name="T8" fmla="*/ 2147483646 w 67"/>
                <a:gd name="T9" fmla="*/ 2147483646 h 63"/>
                <a:gd name="T10" fmla="*/ 2147483646 w 67"/>
                <a:gd name="T11" fmla="*/ 2147483646 h 63"/>
                <a:gd name="T12" fmla="*/ 2147483646 w 67"/>
                <a:gd name="T13" fmla="*/ 2147483646 h 63"/>
                <a:gd name="T14" fmla="*/ 2147483646 w 67"/>
                <a:gd name="T15" fmla="*/ 2147483646 h 63"/>
                <a:gd name="T16" fmla="*/ 2147483646 w 67"/>
                <a:gd name="T17" fmla="*/ 2147483646 h 63"/>
                <a:gd name="T18" fmla="*/ 2147483646 w 67"/>
                <a:gd name="T19" fmla="*/ 2147483646 h 63"/>
                <a:gd name="T20" fmla="*/ 2147483646 w 67"/>
                <a:gd name="T21" fmla="*/ 2147483646 h 63"/>
                <a:gd name="T22" fmla="*/ 2147483646 w 67"/>
                <a:gd name="T23" fmla="*/ 2147483646 h 63"/>
                <a:gd name="T24" fmla="*/ 2147483646 w 67"/>
                <a:gd name="T25" fmla="*/ 2147483646 h 63"/>
                <a:gd name="T26" fmla="*/ 2147483646 w 67"/>
                <a:gd name="T27" fmla="*/ 2147483646 h 63"/>
                <a:gd name="T28" fmla="*/ 2147483646 w 67"/>
                <a:gd name="T29" fmla="*/ 2147483646 h 63"/>
                <a:gd name="T30" fmla="*/ 2147483646 w 67"/>
                <a:gd name="T31" fmla="*/ 2147483646 h 63"/>
                <a:gd name="T32" fmla="*/ 0 w 67"/>
                <a:gd name="T33" fmla="*/ 2147483646 h 63"/>
                <a:gd name="T34" fmla="*/ 0 w 67"/>
                <a:gd name="T35" fmla="*/ 2147483646 h 63"/>
                <a:gd name="T36" fmla="*/ 0 w 67"/>
                <a:gd name="T37" fmla="*/ 2147483646 h 63"/>
                <a:gd name="T38" fmla="*/ 2147483646 w 67"/>
                <a:gd name="T39" fmla="*/ 2147483646 h 63"/>
                <a:gd name="T40" fmla="*/ 2147483646 w 67"/>
                <a:gd name="T41" fmla="*/ 2147483646 h 63"/>
                <a:gd name="T42" fmla="*/ 2147483646 w 67"/>
                <a:gd name="T43" fmla="*/ 2147483646 h 63"/>
                <a:gd name="T44" fmla="*/ 2147483646 w 67"/>
                <a:gd name="T45" fmla="*/ 2147483646 h 63"/>
                <a:gd name="T46" fmla="*/ 2147483646 w 67"/>
                <a:gd name="T47" fmla="*/ 2147483646 h 63"/>
                <a:gd name="T48" fmla="*/ 2147483646 w 67"/>
                <a:gd name="T49" fmla="*/ 0 h 63"/>
                <a:gd name="T50" fmla="*/ 2147483646 w 67"/>
                <a:gd name="T51" fmla="*/ 0 h 63"/>
                <a:gd name="T52" fmla="*/ 2147483646 w 67"/>
                <a:gd name="T53" fmla="*/ 0 h 63"/>
                <a:gd name="T54" fmla="*/ 2147483646 w 67"/>
                <a:gd name="T55" fmla="*/ 2147483646 h 63"/>
                <a:gd name="T56" fmla="*/ 2147483646 w 67"/>
                <a:gd name="T57" fmla="*/ 2147483646 h 63"/>
                <a:gd name="T58" fmla="*/ 2147483646 w 67"/>
                <a:gd name="T59" fmla="*/ 2147483646 h 63"/>
                <a:gd name="T60" fmla="*/ 2147483646 w 67"/>
                <a:gd name="T61" fmla="*/ 2147483646 h 63"/>
                <a:gd name="T62" fmla="*/ 2147483646 w 67"/>
                <a:gd name="T63" fmla="*/ 2147483646 h 63"/>
                <a:gd name="T64" fmla="*/ 2147483646 w 67"/>
                <a:gd name="T65" fmla="*/ 2147483646 h 63"/>
                <a:gd name="T66" fmla="*/ 2147483646 w 67"/>
                <a:gd name="T67" fmla="*/ 2147483646 h 63"/>
                <a:gd name="T68" fmla="*/ 2147483646 w 67"/>
                <a:gd name="T69" fmla="*/ 2147483646 h 63"/>
                <a:gd name="T70" fmla="*/ 2147483646 w 67"/>
                <a:gd name="T71" fmla="*/ 2147483646 h 63"/>
                <a:gd name="T72" fmla="*/ 2147483646 w 67"/>
                <a:gd name="T73" fmla="*/ 2147483646 h 63"/>
                <a:gd name="T74" fmla="*/ 2147483646 w 67"/>
                <a:gd name="T75" fmla="*/ 2147483646 h 63"/>
                <a:gd name="T76" fmla="*/ 2147483646 w 67"/>
                <a:gd name="T77" fmla="*/ 2147483646 h 63"/>
                <a:gd name="T78" fmla="*/ 2147483646 w 67"/>
                <a:gd name="T79" fmla="*/ 2147483646 h 63"/>
                <a:gd name="T80" fmla="*/ 2147483646 w 67"/>
                <a:gd name="T81" fmla="*/ 2147483646 h 63"/>
                <a:gd name="T82" fmla="*/ 2147483646 w 67"/>
                <a:gd name="T83" fmla="*/ 2147483646 h 63"/>
                <a:gd name="T84" fmla="*/ 2147483646 w 67"/>
                <a:gd name="T85" fmla="*/ 2147483646 h 63"/>
                <a:gd name="T86" fmla="*/ 2147483646 w 67"/>
                <a:gd name="T87" fmla="*/ 2147483646 h 63"/>
                <a:gd name="T88" fmla="*/ 2147483646 w 67"/>
                <a:gd name="T89" fmla="*/ 2147483646 h 63"/>
                <a:gd name="T90" fmla="*/ 2147483646 w 67"/>
                <a:gd name="T91" fmla="*/ 2147483646 h 63"/>
                <a:gd name="T92" fmla="*/ 2147483646 w 67"/>
                <a:gd name="T93" fmla="*/ 2147483646 h 6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7"/>
                <a:gd name="T142" fmla="*/ 0 h 63"/>
                <a:gd name="T143" fmla="*/ 67 w 67"/>
                <a:gd name="T144" fmla="*/ 63 h 6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7" h="63">
                  <a:moveTo>
                    <a:pt x="38" y="60"/>
                  </a:moveTo>
                  <a:lnTo>
                    <a:pt x="37" y="59"/>
                  </a:lnTo>
                  <a:lnTo>
                    <a:pt x="34" y="60"/>
                  </a:lnTo>
                  <a:lnTo>
                    <a:pt x="31" y="62"/>
                  </a:lnTo>
                  <a:lnTo>
                    <a:pt x="27" y="63"/>
                  </a:lnTo>
                  <a:lnTo>
                    <a:pt x="25" y="61"/>
                  </a:lnTo>
                  <a:lnTo>
                    <a:pt x="24" y="58"/>
                  </a:lnTo>
                  <a:lnTo>
                    <a:pt x="20" y="58"/>
                  </a:lnTo>
                  <a:lnTo>
                    <a:pt x="17" y="55"/>
                  </a:lnTo>
                  <a:lnTo>
                    <a:pt x="15" y="58"/>
                  </a:lnTo>
                  <a:lnTo>
                    <a:pt x="12" y="56"/>
                  </a:lnTo>
                  <a:lnTo>
                    <a:pt x="10" y="58"/>
                  </a:lnTo>
                  <a:lnTo>
                    <a:pt x="6" y="59"/>
                  </a:lnTo>
                  <a:lnTo>
                    <a:pt x="9" y="58"/>
                  </a:lnTo>
                  <a:lnTo>
                    <a:pt x="7" y="52"/>
                  </a:lnTo>
                  <a:lnTo>
                    <a:pt x="4" y="48"/>
                  </a:lnTo>
                  <a:lnTo>
                    <a:pt x="0" y="45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4" y="23"/>
                  </a:lnTo>
                  <a:lnTo>
                    <a:pt x="7" y="20"/>
                  </a:lnTo>
                  <a:lnTo>
                    <a:pt x="7" y="14"/>
                  </a:lnTo>
                  <a:lnTo>
                    <a:pt x="11" y="14"/>
                  </a:lnTo>
                  <a:lnTo>
                    <a:pt x="11" y="7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7" y="4"/>
                  </a:lnTo>
                  <a:lnTo>
                    <a:pt x="23" y="7"/>
                  </a:lnTo>
                  <a:lnTo>
                    <a:pt x="22" y="15"/>
                  </a:lnTo>
                  <a:lnTo>
                    <a:pt x="29" y="20"/>
                  </a:lnTo>
                  <a:lnTo>
                    <a:pt x="36" y="20"/>
                  </a:lnTo>
                  <a:lnTo>
                    <a:pt x="49" y="16"/>
                  </a:lnTo>
                  <a:lnTo>
                    <a:pt x="67" y="16"/>
                  </a:lnTo>
                  <a:lnTo>
                    <a:pt x="66" y="18"/>
                  </a:lnTo>
                  <a:lnTo>
                    <a:pt x="64" y="21"/>
                  </a:lnTo>
                  <a:lnTo>
                    <a:pt x="59" y="26"/>
                  </a:lnTo>
                  <a:lnTo>
                    <a:pt x="53" y="30"/>
                  </a:lnTo>
                  <a:lnTo>
                    <a:pt x="47" y="32"/>
                  </a:lnTo>
                  <a:lnTo>
                    <a:pt x="47" y="35"/>
                  </a:lnTo>
                  <a:lnTo>
                    <a:pt x="44" y="39"/>
                  </a:lnTo>
                  <a:lnTo>
                    <a:pt x="44" y="45"/>
                  </a:lnTo>
                  <a:lnTo>
                    <a:pt x="48" y="49"/>
                  </a:lnTo>
                  <a:lnTo>
                    <a:pt x="46" y="52"/>
                  </a:lnTo>
                  <a:lnTo>
                    <a:pt x="46" y="57"/>
                  </a:lnTo>
                  <a:lnTo>
                    <a:pt x="43" y="59"/>
                  </a:lnTo>
                  <a:lnTo>
                    <a:pt x="38" y="60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40" name="Freeform 8">
              <a:extLst>
                <a:ext uri="{FF2B5EF4-FFF2-40B4-BE49-F238E27FC236}">
                  <a16:creationId xmlns:a16="http://schemas.microsoft.com/office/drawing/2014/main" id="{818631B8-D50F-4790-A031-17B628D552F3}"/>
                </a:ext>
              </a:extLst>
            </p:cNvPr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2047875" y="2235200"/>
              <a:ext cx="1139825" cy="547688"/>
            </a:xfrm>
            <a:custGeom>
              <a:avLst/>
              <a:gdLst>
                <a:gd name="T0" fmla="*/ 2147483646 w 138"/>
                <a:gd name="T1" fmla="*/ 2147483646 h 69"/>
                <a:gd name="T2" fmla="*/ 2147483646 w 138"/>
                <a:gd name="T3" fmla="*/ 2147483646 h 69"/>
                <a:gd name="T4" fmla="*/ 2147483646 w 138"/>
                <a:gd name="T5" fmla="*/ 2147483646 h 69"/>
                <a:gd name="T6" fmla="*/ 2147483646 w 138"/>
                <a:gd name="T7" fmla="*/ 2147483646 h 69"/>
                <a:gd name="T8" fmla="*/ 2147483646 w 138"/>
                <a:gd name="T9" fmla="*/ 2147483646 h 69"/>
                <a:gd name="T10" fmla="*/ 2147483646 w 138"/>
                <a:gd name="T11" fmla="*/ 2147483646 h 69"/>
                <a:gd name="T12" fmla="*/ 2147483646 w 138"/>
                <a:gd name="T13" fmla="*/ 2147483646 h 69"/>
                <a:gd name="T14" fmla="*/ 2147483646 w 138"/>
                <a:gd name="T15" fmla="*/ 2147483646 h 69"/>
                <a:gd name="T16" fmla="*/ 2147483646 w 138"/>
                <a:gd name="T17" fmla="*/ 2147483646 h 69"/>
                <a:gd name="T18" fmla="*/ 2147483646 w 138"/>
                <a:gd name="T19" fmla="*/ 2147483646 h 69"/>
                <a:gd name="T20" fmla="*/ 2147483646 w 138"/>
                <a:gd name="T21" fmla="*/ 2147483646 h 69"/>
                <a:gd name="T22" fmla="*/ 2147483646 w 138"/>
                <a:gd name="T23" fmla="*/ 2147483646 h 69"/>
                <a:gd name="T24" fmla="*/ 2147483646 w 138"/>
                <a:gd name="T25" fmla="*/ 2147483646 h 69"/>
                <a:gd name="T26" fmla="*/ 2147483646 w 138"/>
                <a:gd name="T27" fmla="*/ 2147483646 h 69"/>
                <a:gd name="T28" fmla="*/ 2147483646 w 138"/>
                <a:gd name="T29" fmla="*/ 2147483646 h 69"/>
                <a:gd name="T30" fmla="*/ 2147483646 w 138"/>
                <a:gd name="T31" fmla="*/ 2147483646 h 69"/>
                <a:gd name="T32" fmla="*/ 2147483646 w 138"/>
                <a:gd name="T33" fmla="*/ 2147483646 h 69"/>
                <a:gd name="T34" fmla="*/ 2147483646 w 138"/>
                <a:gd name="T35" fmla="*/ 2147483646 h 69"/>
                <a:gd name="T36" fmla="*/ 2147483646 w 138"/>
                <a:gd name="T37" fmla="*/ 2147483646 h 69"/>
                <a:gd name="T38" fmla="*/ 2147483646 w 138"/>
                <a:gd name="T39" fmla="*/ 2147483646 h 69"/>
                <a:gd name="T40" fmla="*/ 2147483646 w 138"/>
                <a:gd name="T41" fmla="*/ 2147483646 h 69"/>
                <a:gd name="T42" fmla="*/ 2147483646 w 138"/>
                <a:gd name="T43" fmla="*/ 2147483646 h 69"/>
                <a:gd name="T44" fmla="*/ 2147483646 w 138"/>
                <a:gd name="T45" fmla="*/ 2147483646 h 69"/>
                <a:gd name="T46" fmla="*/ 2147483646 w 138"/>
                <a:gd name="T47" fmla="*/ 2147483646 h 69"/>
                <a:gd name="T48" fmla="*/ 2147483646 w 138"/>
                <a:gd name="T49" fmla="*/ 2147483646 h 69"/>
                <a:gd name="T50" fmla="*/ 2147483646 w 138"/>
                <a:gd name="T51" fmla="*/ 2147483646 h 69"/>
                <a:gd name="T52" fmla="*/ 2147483646 w 138"/>
                <a:gd name="T53" fmla="*/ 2147483646 h 69"/>
                <a:gd name="T54" fmla="*/ 2147483646 w 138"/>
                <a:gd name="T55" fmla="*/ 2147483646 h 69"/>
                <a:gd name="T56" fmla="*/ 2147483646 w 138"/>
                <a:gd name="T57" fmla="*/ 2147483646 h 69"/>
                <a:gd name="T58" fmla="*/ 2147483646 w 138"/>
                <a:gd name="T59" fmla="*/ 2147483646 h 69"/>
                <a:gd name="T60" fmla="*/ 2147483646 w 138"/>
                <a:gd name="T61" fmla="*/ 2147483646 h 69"/>
                <a:gd name="T62" fmla="*/ 2147483646 w 138"/>
                <a:gd name="T63" fmla="*/ 2147483646 h 69"/>
                <a:gd name="T64" fmla="*/ 2147483646 w 138"/>
                <a:gd name="T65" fmla="*/ 2147483646 h 69"/>
                <a:gd name="T66" fmla="*/ 2147483646 w 138"/>
                <a:gd name="T67" fmla="*/ 2147483646 h 69"/>
                <a:gd name="T68" fmla="*/ 2147483646 w 138"/>
                <a:gd name="T69" fmla="*/ 2147483646 h 69"/>
                <a:gd name="T70" fmla="*/ 2147483646 w 138"/>
                <a:gd name="T71" fmla="*/ 2147483646 h 69"/>
                <a:gd name="T72" fmla="*/ 2147483646 w 138"/>
                <a:gd name="T73" fmla="*/ 2147483646 h 69"/>
                <a:gd name="T74" fmla="*/ 2147483646 w 138"/>
                <a:gd name="T75" fmla="*/ 2147483646 h 69"/>
                <a:gd name="T76" fmla="*/ 2147483646 w 138"/>
                <a:gd name="T77" fmla="*/ 2147483646 h 69"/>
                <a:gd name="T78" fmla="*/ 2147483646 w 138"/>
                <a:gd name="T79" fmla="*/ 2147483646 h 69"/>
                <a:gd name="T80" fmla="*/ 2147483646 w 138"/>
                <a:gd name="T81" fmla="*/ 2147483646 h 69"/>
                <a:gd name="T82" fmla="*/ 0 w 138"/>
                <a:gd name="T83" fmla="*/ 2147483646 h 69"/>
                <a:gd name="T84" fmla="*/ 0 w 138"/>
                <a:gd name="T85" fmla="*/ 2147483646 h 69"/>
                <a:gd name="T86" fmla="*/ 2147483646 w 138"/>
                <a:gd name="T87" fmla="*/ 2147483646 h 69"/>
                <a:gd name="T88" fmla="*/ 2147483646 w 138"/>
                <a:gd name="T89" fmla="*/ 0 h 69"/>
                <a:gd name="T90" fmla="*/ 2147483646 w 138"/>
                <a:gd name="T91" fmla="*/ 0 h 69"/>
                <a:gd name="T92" fmla="*/ 2147483646 w 138"/>
                <a:gd name="T93" fmla="*/ 2147483646 h 69"/>
                <a:gd name="T94" fmla="*/ 2147483646 w 138"/>
                <a:gd name="T95" fmla="*/ 2147483646 h 69"/>
                <a:gd name="T96" fmla="*/ 2147483646 w 138"/>
                <a:gd name="T97" fmla="*/ 2147483646 h 6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38"/>
                <a:gd name="T148" fmla="*/ 0 h 69"/>
                <a:gd name="T149" fmla="*/ 138 w 138"/>
                <a:gd name="T150" fmla="*/ 69 h 6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38" h="69">
                  <a:moveTo>
                    <a:pt x="108" y="2"/>
                  </a:moveTo>
                  <a:lnTo>
                    <a:pt x="109" y="14"/>
                  </a:lnTo>
                  <a:lnTo>
                    <a:pt x="123" y="14"/>
                  </a:lnTo>
                  <a:lnTo>
                    <a:pt x="123" y="19"/>
                  </a:lnTo>
                  <a:lnTo>
                    <a:pt x="126" y="25"/>
                  </a:lnTo>
                  <a:lnTo>
                    <a:pt x="129" y="31"/>
                  </a:lnTo>
                  <a:lnTo>
                    <a:pt x="132" y="34"/>
                  </a:lnTo>
                  <a:lnTo>
                    <a:pt x="138" y="39"/>
                  </a:lnTo>
                  <a:lnTo>
                    <a:pt x="133" y="55"/>
                  </a:lnTo>
                  <a:lnTo>
                    <a:pt x="127" y="55"/>
                  </a:lnTo>
                  <a:lnTo>
                    <a:pt x="122" y="53"/>
                  </a:lnTo>
                  <a:lnTo>
                    <a:pt x="117" y="50"/>
                  </a:lnTo>
                  <a:lnTo>
                    <a:pt x="113" y="58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1" y="58"/>
                  </a:lnTo>
                  <a:lnTo>
                    <a:pt x="99" y="61"/>
                  </a:lnTo>
                  <a:lnTo>
                    <a:pt x="98" y="63"/>
                  </a:lnTo>
                  <a:lnTo>
                    <a:pt x="92" y="64"/>
                  </a:lnTo>
                  <a:lnTo>
                    <a:pt x="89" y="64"/>
                  </a:lnTo>
                  <a:lnTo>
                    <a:pt x="89" y="69"/>
                  </a:lnTo>
                  <a:lnTo>
                    <a:pt x="82" y="67"/>
                  </a:lnTo>
                  <a:lnTo>
                    <a:pt x="82" y="62"/>
                  </a:lnTo>
                  <a:lnTo>
                    <a:pt x="75" y="61"/>
                  </a:lnTo>
                  <a:lnTo>
                    <a:pt x="58" y="60"/>
                  </a:lnTo>
                  <a:lnTo>
                    <a:pt x="44" y="61"/>
                  </a:lnTo>
                  <a:lnTo>
                    <a:pt x="39" y="63"/>
                  </a:lnTo>
                  <a:lnTo>
                    <a:pt x="33" y="63"/>
                  </a:lnTo>
                  <a:lnTo>
                    <a:pt x="30" y="62"/>
                  </a:lnTo>
                  <a:lnTo>
                    <a:pt x="26" y="63"/>
                  </a:lnTo>
                  <a:lnTo>
                    <a:pt x="22" y="65"/>
                  </a:lnTo>
                  <a:lnTo>
                    <a:pt x="21" y="61"/>
                  </a:lnTo>
                  <a:lnTo>
                    <a:pt x="19" y="54"/>
                  </a:lnTo>
                  <a:lnTo>
                    <a:pt x="15" y="51"/>
                  </a:lnTo>
                  <a:lnTo>
                    <a:pt x="11" y="49"/>
                  </a:lnTo>
                  <a:lnTo>
                    <a:pt x="9" y="47"/>
                  </a:lnTo>
                  <a:lnTo>
                    <a:pt x="8" y="41"/>
                  </a:lnTo>
                  <a:lnTo>
                    <a:pt x="5" y="39"/>
                  </a:lnTo>
                  <a:lnTo>
                    <a:pt x="7" y="35"/>
                  </a:lnTo>
                  <a:lnTo>
                    <a:pt x="7" y="30"/>
                  </a:lnTo>
                  <a:lnTo>
                    <a:pt x="0" y="23"/>
                  </a:lnTo>
                  <a:lnTo>
                    <a:pt x="0" y="7"/>
                  </a:lnTo>
                  <a:lnTo>
                    <a:pt x="20" y="7"/>
                  </a:lnTo>
                  <a:lnTo>
                    <a:pt x="26" y="0"/>
                  </a:lnTo>
                  <a:lnTo>
                    <a:pt x="39" y="0"/>
                  </a:lnTo>
                  <a:lnTo>
                    <a:pt x="56" y="3"/>
                  </a:lnTo>
                  <a:lnTo>
                    <a:pt x="109" y="2"/>
                  </a:lnTo>
                  <a:lnTo>
                    <a:pt x="108" y="2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41" name="Freeform 9">
              <a:extLst>
                <a:ext uri="{FF2B5EF4-FFF2-40B4-BE49-F238E27FC236}">
                  <a16:creationId xmlns:a16="http://schemas.microsoft.com/office/drawing/2014/main" id="{CA3ECBD9-3618-4571-AA93-662F30DF36AC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2479675" y="3387725"/>
              <a:ext cx="438150" cy="601663"/>
            </a:xfrm>
            <a:custGeom>
              <a:avLst/>
              <a:gdLst>
                <a:gd name="T0" fmla="*/ 2147483646 w 53"/>
                <a:gd name="T1" fmla="*/ 2147483646 h 76"/>
                <a:gd name="T2" fmla="*/ 2147483646 w 53"/>
                <a:gd name="T3" fmla="*/ 2147483646 h 76"/>
                <a:gd name="T4" fmla="*/ 2147483646 w 53"/>
                <a:gd name="T5" fmla="*/ 2147483646 h 76"/>
                <a:gd name="T6" fmla="*/ 2147483646 w 53"/>
                <a:gd name="T7" fmla="*/ 2147483646 h 76"/>
                <a:gd name="T8" fmla="*/ 2147483646 w 53"/>
                <a:gd name="T9" fmla="*/ 2147483646 h 76"/>
                <a:gd name="T10" fmla="*/ 2147483646 w 53"/>
                <a:gd name="T11" fmla="*/ 2147483646 h 76"/>
                <a:gd name="T12" fmla="*/ 2147483646 w 53"/>
                <a:gd name="T13" fmla="*/ 0 h 76"/>
                <a:gd name="T14" fmla="*/ 2147483646 w 53"/>
                <a:gd name="T15" fmla="*/ 2147483646 h 76"/>
                <a:gd name="T16" fmla="*/ 2147483646 w 53"/>
                <a:gd name="T17" fmla="*/ 2147483646 h 76"/>
                <a:gd name="T18" fmla="*/ 2147483646 w 53"/>
                <a:gd name="T19" fmla="*/ 2147483646 h 76"/>
                <a:gd name="T20" fmla="*/ 2147483646 w 53"/>
                <a:gd name="T21" fmla="*/ 2147483646 h 76"/>
                <a:gd name="T22" fmla="*/ 2147483646 w 53"/>
                <a:gd name="T23" fmla="*/ 2147483646 h 76"/>
                <a:gd name="T24" fmla="*/ 2147483646 w 53"/>
                <a:gd name="T25" fmla="*/ 2147483646 h 76"/>
                <a:gd name="T26" fmla="*/ 2147483646 w 53"/>
                <a:gd name="T27" fmla="*/ 2147483646 h 76"/>
                <a:gd name="T28" fmla="*/ 2147483646 w 53"/>
                <a:gd name="T29" fmla="*/ 2147483646 h 76"/>
                <a:gd name="T30" fmla="*/ 2147483646 w 53"/>
                <a:gd name="T31" fmla="*/ 2147483646 h 76"/>
                <a:gd name="T32" fmla="*/ 2147483646 w 53"/>
                <a:gd name="T33" fmla="*/ 2147483646 h 76"/>
                <a:gd name="T34" fmla="*/ 2147483646 w 53"/>
                <a:gd name="T35" fmla="*/ 2147483646 h 76"/>
                <a:gd name="T36" fmla="*/ 2147483646 w 53"/>
                <a:gd name="T37" fmla="*/ 2147483646 h 76"/>
                <a:gd name="T38" fmla="*/ 0 w 53"/>
                <a:gd name="T39" fmla="*/ 2147483646 h 76"/>
                <a:gd name="T40" fmla="*/ 2147483646 w 53"/>
                <a:gd name="T41" fmla="*/ 2147483646 h 76"/>
                <a:gd name="T42" fmla="*/ 2147483646 w 53"/>
                <a:gd name="T43" fmla="*/ 2147483646 h 76"/>
                <a:gd name="T44" fmla="*/ 2147483646 w 53"/>
                <a:gd name="T45" fmla="*/ 2147483646 h 76"/>
                <a:gd name="T46" fmla="*/ 2147483646 w 53"/>
                <a:gd name="T47" fmla="*/ 2147483646 h 7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3"/>
                <a:gd name="T73" fmla="*/ 0 h 76"/>
                <a:gd name="T74" fmla="*/ 53 w 53"/>
                <a:gd name="T75" fmla="*/ 76 h 7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3" h="76">
                  <a:moveTo>
                    <a:pt x="17" y="26"/>
                  </a:moveTo>
                  <a:lnTo>
                    <a:pt x="21" y="26"/>
                  </a:lnTo>
                  <a:lnTo>
                    <a:pt x="20" y="16"/>
                  </a:lnTo>
                  <a:lnTo>
                    <a:pt x="23" y="10"/>
                  </a:lnTo>
                  <a:lnTo>
                    <a:pt x="23" y="6"/>
                  </a:lnTo>
                  <a:lnTo>
                    <a:pt x="30" y="5"/>
                  </a:lnTo>
                  <a:lnTo>
                    <a:pt x="34" y="0"/>
                  </a:lnTo>
                  <a:lnTo>
                    <a:pt x="53" y="4"/>
                  </a:lnTo>
                  <a:lnTo>
                    <a:pt x="35" y="61"/>
                  </a:lnTo>
                  <a:lnTo>
                    <a:pt x="44" y="66"/>
                  </a:lnTo>
                  <a:lnTo>
                    <a:pt x="41" y="76"/>
                  </a:lnTo>
                  <a:lnTo>
                    <a:pt x="33" y="72"/>
                  </a:lnTo>
                  <a:lnTo>
                    <a:pt x="24" y="69"/>
                  </a:lnTo>
                  <a:lnTo>
                    <a:pt x="14" y="69"/>
                  </a:lnTo>
                  <a:lnTo>
                    <a:pt x="7" y="69"/>
                  </a:lnTo>
                  <a:lnTo>
                    <a:pt x="4" y="72"/>
                  </a:lnTo>
                  <a:lnTo>
                    <a:pt x="3" y="67"/>
                  </a:lnTo>
                  <a:lnTo>
                    <a:pt x="7" y="63"/>
                  </a:lnTo>
                  <a:lnTo>
                    <a:pt x="1" y="59"/>
                  </a:lnTo>
                  <a:lnTo>
                    <a:pt x="0" y="54"/>
                  </a:lnTo>
                  <a:lnTo>
                    <a:pt x="10" y="37"/>
                  </a:lnTo>
                  <a:lnTo>
                    <a:pt x="13" y="35"/>
                  </a:lnTo>
                  <a:lnTo>
                    <a:pt x="16" y="30"/>
                  </a:lnTo>
                  <a:lnTo>
                    <a:pt x="17" y="26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42" name="Freeform 10">
              <a:extLst>
                <a:ext uri="{FF2B5EF4-FFF2-40B4-BE49-F238E27FC236}">
                  <a16:creationId xmlns:a16="http://schemas.microsoft.com/office/drawing/2014/main" id="{6ADF65BE-023D-482D-8BD7-A91D4D6A5DAF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2436813" y="3951288"/>
              <a:ext cx="403225" cy="300037"/>
            </a:xfrm>
            <a:custGeom>
              <a:avLst/>
              <a:gdLst>
                <a:gd name="T0" fmla="*/ 2147483646 w 49"/>
                <a:gd name="T1" fmla="*/ 2147483646 h 38"/>
                <a:gd name="T2" fmla="*/ 2147483646 w 49"/>
                <a:gd name="T3" fmla="*/ 2147483646 h 38"/>
                <a:gd name="T4" fmla="*/ 2147483646 w 49"/>
                <a:gd name="T5" fmla="*/ 2147483646 h 38"/>
                <a:gd name="T6" fmla="*/ 2147483646 w 49"/>
                <a:gd name="T7" fmla="*/ 2147483646 h 38"/>
                <a:gd name="T8" fmla="*/ 2147483646 w 49"/>
                <a:gd name="T9" fmla="*/ 2147483646 h 38"/>
                <a:gd name="T10" fmla="*/ 2147483646 w 49"/>
                <a:gd name="T11" fmla="*/ 2147483646 h 38"/>
                <a:gd name="T12" fmla="*/ 2147483646 w 49"/>
                <a:gd name="T13" fmla="*/ 2147483646 h 38"/>
                <a:gd name="T14" fmla="*/ 2147483646 w 49"/>
                <a:gd name="T15" fmla="*/ 2147483646 h 38"/>
                <a:gd name="T16" fmla="*/ 2147483646 w 49"/>
                <a:gd name="T17" fmla="*/ 2147483646 h 38"/>
                <a:gd name="T18" fmla="*/ 2147483646 w 49"/>
                <a:gd name="T19" fmla="*/ 2147483646 h 38"/>
                <a:gd name="T20" fmla="*/ 2147483646 w 49"/>
                <a:gd name="T21" fmla="*/ 2147483646 h 38"/>
                <a:gd name="T22" fmla="*/ 2147483646 w 49"/>
                <a:gd name="T23" fmla="*/ 2147483646 h 38"/>
                <a:gd name="T24" fmla="*/ 2147483646 w 49"/>
                <a:gd name="T25" fmla="*/ 2147483646 h 38"/>
                <a:gd name="T26" fmla="*/ 0 w 49"/>
                <a:gd name="T27" fmla="*/ 2147483646 h 38"/>
                <a:gd name="T28" fmla="*/ 2147483646 w 49"/>
                <a:gd name="T29" fmla="*/ 2147483646 h 38"/>
                <a:gd name="T30" fmla="*/ 2147483646 w 49"/>
                <a:gd name="T31" fmla="*/ 2147483646 h 38"/>
                <a:gd name="T32" fmla="*/ 2147483646 w 49"/>
                <a:gd name="T33" fmla="*/ 2147483646 h 38"/>
                <a:gd name="T34" fmla="*/ 2147483646 w 49"/>
                <a:gd name="T35" fmla="*/ 0 h 38"/>
                <a:gd name="T36" fmla="*/ 2147483646 w 49"/>
                <a:gd name="T37" fmla="*/ 0 h 38"/>
                <a:gd name="T38" fmla="*/ 2147483646 w 49"/>
                <a:gd name="T39" fmla="*/ 0 h 38"/>
                <a:gd name="T40" fmla="*/ 2147483646 w 49"/>
                <a:gd name="T41" fmla="*/ 2147483646 h 38"/>
                <a:gd name="T42" fmla="*/ 2147483646 w 49"/>
                <a:gd name="T43" fmla="*/ 2147483646 h 3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9"/>
                <a:gd name="T67" fmla="*/ 0 h 38"/>
                <a:gd name="T68" fmla="*/ 49 w 49"/>
                <a:gd name="T69" fmla="*/ 38 h 3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9" h="38">
                  <a:moveTo>
                    <a:pt x="49" y="7"/>
                  </a:moveTo>
                  <a:lnTo>
                    <a:pt x="47" y="13"/>
                  </a:lnTo>
                  <a:lnTo>
                    <a:pt x="44" y="20"/>
                  </a:lnTo>
                  <a:lnTo>
                    <a:pt x="38" y="20"/>
                  </a:lnTo>
                  <a:lnTo>
                    <a:pt x="32" y="23"/>
                  </a:lnTo>
                  <a:lnTo>
                    <a:pt x="27" y="26"/>
                  </a:lnTo>
                  <a:lnTo>
                    <a:pt x="24" y="29"/>
                  </a:lnTo>
                  <a:lnTo>
                    <a:pt x="23" y="33"/>
                  </a:lnTo>
                  <a:lnTo>
                    <a:pt x="21" y="38"/>
                  </a:lnTo>
                  <a:lnTo>
                    <a:pt x="13" y="35"/>
                  </a:lnTo>
                  <a:lnTo>
                    <a:pt x="13" y="28"/>
                  </a:lnTo>
                  <a:lnTo>
                    <a:pt x="6" y="26"/>
                  </a:lnTo>
                  <a:lnTo>
                    <a:pt x="7" y="23"/>
                  </a:lnTo>
                  <a:lnTo>
                    <a:pt x="0" y="19"/>
                  </a:lnTo>
                  <a:lnTo>
                    <a:pt x="5" y="13"/>
                  </a:lnTo>
                  <a:lnTo>
                    <a:pt x="6" y="9"/>
                  </a:lnTo>
                  <a:lnTo>
                    <a:pt x="12" y="3"/>
                  </a:lnTo>
                  <a:lnTo>
                    <a:pt x="15" y="0"/>
                  </a:lnTo>
                  <a:lnTo>
                    <a:pt x="22" y="0"/>
                  </a:lnTo>
                  <a:lnTo>
                    <a:pt x="32" y="0"/>
                  </a:lnTo>
                  <a:lnTo>
                    <a:pt x="41" y="3"/>
                  </a:lnTo>
                  <a:lnTo>
                    <a:pt x="49" y="7"/>
                  </a:lnTo>
                  <a:close/>
                </a:path>
              </a:pathLst>
            </a:custGeom>
            <a:solidFill>
              <a:srgbClr val="669900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43" name="Freeform 11">
              <a:extLst>
                <a:ext uri="{FF2B5EF4-FFF2-40B4-BE49-F238E27FC236}">
                  <a16:creationId xmlns:a16="http://schemas.microsoft.com/office/drawing/2014/main" id="{01774D64-20E3-4535-9E83-E6F2E74D4C1B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1974850" y="3603625"/>
              <a:ext cx="685800" cy="430213"/>
            </a:xfrm>
            <a:custGeom>
              <a:avLst/>
              <a:gdLst>
                <a:gd name="T0" fmla="*/ 2147483646 w 83"/>
                <a:gd name="T1" fmla="*/ 0 h 54"/>
                <a:gd name="T2" fmla="*/ 2147483646 w 83"/>
                <a:gd name="T3" fmla="*/ 0 h 54"/>
                <a:gd name="T4" fmla="*/ 2147483646 w 83"/>
                <a:gd name="T5" fmla="*/ 2147483646 h 54"/>
                <a:gd name="T6" fmla="*/ 2147483646 w 83"/>
                <a:gd name="T7" fmla="*/ 2147483646 h 54"/>
                <a:gd name="T8" fmla="*/ 2147483646 w 83"/>
                <a:gd name="T9" fmla="*/ 2147483646 h 54"/>
                <a:gd name="T10" fmla="*/ 2147483646 w 83"/>
                <a:gd name="T11" fmla="*/ 2147483646 h 54"/>
                <a:gd name="T12" fmla="*/ 2147483646 w 83"/>
                <a:gd name="T13" fmla="*/ 2147483646 h 54"/>
                <a:gd name="T14" fmla="*/ 2147483646 w 83"/>
                <a:gd name="T15" fmla="*/ 2147483646 h 54"/>
                <a:gd name="T16" fmla="*/ 2147483646 w 83"/>
                <a:gd name="T17" fmla="*/ 2147483646 h 54"/>
                <a:gd name="T18" fmla="*/ 2147483646 w 83"/>
                <a:gd name="T19" fmla="*/ 2147483646 h 54"/>
                <a:gd name="T20" fmla="*/ 2147483646 w 83"/>
                <a:gd name="T21" fmla="*/ 2147483646 h 54"/>
                <a:gd name="T22" fmla="*/ 2147483646 w 83"/>
                <a:gd name="T23" fmla="*/ 2147483646 h 54"/>
                <a:gd name="T24" fmla="*/ 2147483646 w 83"/>
                <a:gd name="T25" fmla="*/ 2147483646 h 54"/>
                <a:gd name="T26" fmla="*/ 2147483646 w 83"/>
                <a:gd name="T27" fmla="*/ 2147483646 h 54"/>
                <a:gd name="T28" fmla="*/ 2147483646 w 83"/>
                <a:gd name="T29" fmla="*/ 2147483646 h 54"/>
                <a:gd name="T30" fmla="*/ 2147483646 w 83"/>
                <a:gd name="T31" fmla="*/ 2147483646 h 54"/>
                <a:gd name="T32" fmla="*/ 2147483646 w 83"/>
                <a:gd name="T33" fmla="*/ 2147483646 h 54"/>
                <a:gd name="T34" fmla="*/ 2147483646 w 83"/>
                <a:gd name="T35" fmla="*/ 2147483646 h 54"/>
                <a:gd name="T36" fmla="*/ 2147483646 w 83"/>
                <a:gd name="T37" fmla="*/ 2147483646 h 54"/>
                <a:gd name="T38" fmla="*/ 2147483646 w 83"/>
                <a:gd name="T39" fmla="*/ 2147483646 h 54"/>
                <a:gd name="T40" fmla="*/ 2147483646 w 83"/>
                <a:gd name="T41" fmla="*/ 2147483646 h 54"/>
                <a:gd name="T42" fmla="*/ 2147483646 w 83"/>
                <a:gd name="T43" fmla="*/ 2147483646 h 54"/>
                <a:gd name="T44" fmla="*/ 2147483646 w 83"/>
                <a:gd name="T45" fmla="*/ 2147483646 h 54"/>
                <a:gd name="T46" fmla="*/ 2147483646 w 83"/>
                <a:gd name="T47" fmla="*/ 2147483646 h 54"/>
                <a:gd name="T48" fmla="*/ 2147483646 w 83"/>
                <a:gd name="T49" fmla="*/ 2147483646 h 54"/>
                <a:gd name="T50" fmla="*/ 2147483646 w 83"/>
                <a:gd name="T51" fmla="*/ 2147483646 h 54"/>
                <a:gd name="T52" fmla="*/ 2147483646 w 83"/>
                <a:gd name="T53" fmla="*/ 2147483646 h 54"/>
                <a:gd name="T54" fmla="*/ 2147483646 w 83"/>
                <a:gd name="T55" fmla="*/ 2147483646 h 54"/>
                <a:gd name="T56" fmla="*/ 2147483646 w 83"/>
                <a:gd name="T57" fmla="*/ 2147483646 h 54"/>
                <a:gd name="T58" fmla="*/ 0 w 83"/>
                <a:gd name="T59" fmla="*/ 2147483646 h 54"/>
                <a:gd name="T60" fmla="*/ 2147483646 w 83"/>
                <a:gd name="T61" fmla="*/ 2147483646 h 54"/>
                <a:gd name="T62" fmla="*/ 2147483646 w 83"/>
                <a:gd name="T63" fmla="*/ 2147483646 h 54"/>
                <a:gd name="T64" fmla="*/ 2147483646 w 83"/>
                <a:gd name="T65" fmla="*/ 2147483646 h 54"/>
                <a:gd name="T66" fmla="*/ 2147483646 w 83"/>
                <a:gd name="T67" fmla="*/ 2147483646 h 54"/>
                <a:gd name="T68" fmla="*/ 2147483646 w 83"/>
                <a:gd name="T69" fmla="*/ 2147483646 h 54"/>
                <a:gd name="T70" fmla="*/ 2147483646 w 83"/>
                <a:gd name="T71" fmla="*/ 2147483646 h 54"/>
                <a:gd name="T72" fmla="*/ 2147483646 w 83"/>
                <a:gd name="T73" fmla="*/ 2147483646 h 54"/>
                <a:gd name="T74" fmla="*/ 2147483646 w 83"/>
                <a:gd name="T75" fmla="*/ 2147483646 h 54"/>
                <a:gd name="T76" fmla="*/ 2147483646 w 83"/>
                <a:gd name="T77" fmla="*/ 2147483646 h 54"/>
                <a:gd name="T78" fmla="*/ 2147483646 w 83"/>
                <a:gd name="T79" fmla="*/ 0 h 5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3"/>
                <a:gd name="T121" fmla="*/ 0 h 54"/>
                <a:gd name="T122" fmla="*/ 83 w 83"/>
                <a:gd name="T123" fmla="*/ 54 h 5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3" h="54">
                  <a:moveTo>
                    <a:pt x="61" y="0"/>
                  </a:moveTo>
                  <a:lnTo>
                    <a:pt x="65" y="0"/>
                  </a:lnTo>
                  <a:lnTo>
                    <a:pt x="65" y="7"/>
                  </a:lnTo>
                  <a:lnTo>
                    <a:pt x="70" y="6"/>
                  </a:lnTo>
                  <a:lnTo>
                    <a:pt x="72" y="1"/>
                  </a:lnTo>
                  <a:lnTo>
                    <a:pt x="83" y="1"/>
                  </a:lnTo>
                  <a:lnTo>
                    <a:pt x="82" y="5"/>
                  </a:lnTo>
                  <a:lnTo>
                    <a:pt x="79" y="10"/>
                  </a:lnTo>
                  <a:lnTo>
                    <a:pt x="76" y="12"/>
                  </a:lnTo>
                  <a:lnTo>
                    <a:pt x="66" y="29"/>
                  </a:lnTo>
                  <a:lnTo>
                    <a:pt x="62" y="28"/>
                  </a:lnTo>
                  <a:lnTo>
                    <a:pt x="55" y="32"/>
                  </a:lnTo>
                  <a:lnTo>
                    <a:pt x="54" y="39"/>
                  </a:lnTo>
                  <a:lnTo>
                    <a:pt x="48" y="46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35" y="44"/>
                  </a:lnTo>
                  <a:lnTo>
                    <a:pt x="30" y="44"/>
                  </a:lnTo>
                  <a:lnTo>
                    <a:pt x="27" y="47"/>
                  </a:lnTo>
                  <a:lnTo>
                    <a:pt x="23" y="51"/>
                  </a:lnTo>
                  <a:lnTo>
                    <a:pt x="18" y="52"/>
                  </a:lnTo>
                  <a:lnTo>
                    <a:pt x="15" y="54"/>
                  </a:lnTo>
                  <a:lnTo>
                    <a:pt x="12" y="53"/>
                  </a:lnTo>
                  <a:lnTo>
                    <a:pt x="9" y="51"/>
                  </a:lnTo>
                  <a:lnTo>
                    <a:pt x="10" y="47"/>
                  </a:lnTo>
                  <a:lnTo>
                    <a:pt x="8" y="46"/>
                  </a:lnTo>
                  <a:lnTo>
                    <a:pt x="10" y="39"/>
                  </a:lnTo>
                  <a:lnTo>
                    <a:pt x="8" y="36"/>
                  </a:lnTo>
                  <a:lnTo>
                    <a:pt x="7" y="33"/>
                  </a:lnTo>
                  <a:lnTo>
                    <a:pt x="0" y="32"/>
                  </a:lnTo>
                  <a:lnTo>
                    <a:pt x="3" y="21"/>
                  </a:lnTo>
                  <a:lnTo>
                    <a:pt x="7" y="20"/>
                  </a:lnTo>
                  <a:lnTo>
                    <a:pt x="10" y="22"/>
                  </a:lnTo>
                  <a:lnTo>
                    <a:pt x="14" y="19"/>
                  </a:lnTo>
                  <a:lnTo>
                    <a:pt x="32" y="23"/>
                  </a:lnTo>
                  <a:lnTo>
                    <a:pt x="37" y="9"/>
                  </a:lnTo>
                  <a:lnTo>
                    <a:pt x="40" y="6"/>
                  </a:lnTo>
                  <a:lnTo>
                    <a:pt x="53" y="6"/>
                  </a:lnTo>
                  <a:lnTo>
                    <a:pt x="60" y="4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44" name="Freeform 12">
              <a:extLst>
                <a:ext uri="{FF2B5EF4-FFF2-40B4-BE49-F238E27FC236}">
                  <a16:creationId xmlns:a16="http://schemas.microsoft.com/office/drawing/2014/main" id="{B217781B-4189-41B8-A210-E2A1EEEC0BC2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2047875" y="3819525"/>
              <a:ext cx="522288" cy="412750"/>
            </a:xfrm>
            <a:custGeom>
              <a:avLst/>
              <a:gdLst>
                <a:gd name="T0" fmla="*/ 2147483646 w 63"/>
                <a:gd name="T1" fmla="*/ 2147483646 h 52"/>
                <a:gd name="T2" fmla="*/ 2147483646 w 63"/>
                <a:gd name="T3" fmla="*/ 2147483646 h 52"/>
                <a:gd name="T4" fmla="*/ 2147483646 w 63"/>
                <a:gd name="T5" fmla="*/ 2147483646 h 52"/>
                <a:gd name="T6" fmla="*/ 2147483646 w 63"/>
                <a:gd name="T7" fmla="*/ 2147483646 h 52"/>
                <a:gd name="T8" fmla="*/ 2147483646 w 63"/>
                <a:gd name="T9" fmla="*/ 2147483646 h 52"/>
                <a:gd name="T10" fmla="*/ 2147483646 w 63"/>
                <a:gd name="T11" fmla="*/ 2147483646 h 52"/>
                <a:gd name="T12" fmla="*/ 2147483646 w 63"/>
                <a:gd name="T13" fmla="*/ 2147483646 h 52"/>
                <a:gd name="T14" fmla="*/ 2147483646 w 63"/>
                <a:gd name="T15" fmla="*/ 2147483646 h 52"/>
                <a:gd name="T16" fmla="*/ 2147483646 w 63"/>
                <a:gd name="T17" fmla="*/ 2147483646 h 52"/>
                <a:gd name="T18" fmla="*/ 2147483646 w 63"/>
                <a:gd name="T19" fmla="*/ 2147483646 h 52"/>
                <a:gd name="T20" fmla="*/ 2147483646 w 63"/>
                <a:gd name="T21" fmla="*/ 2147483646 h 52"/>
                <a:gd name="T22" fmla="*/ 2147483646 w 63"/>
                <a:gd name="T23" fmla="*/ 2147483646 h 52"/>
                <a:gd name="T24" fmla="*/ 2147483646 w 63"/>
                <a:gd name="T25" fmla="*/ 2147483646 h 52"/>
                <a:gd name="T26" fmla="*/ 2147483646 w 63"/>
                <a:gd name="T27" fmla="*/ 2147483646 h 52"/>
                <a:gd name="T28" fmla="*/ 2147483646 w 63"/>
                <a:gd name="T29" fmla="*/ 2147483646 h 52"/>
                <a:gd name="T30" fmla="*/ 2147483646 w 63"/>
                <a:gd name="T31" fmla="*/ 2147483646 h 52"/>
                <a:gd name="T32" fmla="*/ 2147483646 w 63"/>
                <a:gd name="T33" fmla="*/ 2147483646 h 52"/>
                <a:gd name="T34" fmla="*/ 0 w 63"/>
                <a:gd name="T35" fmla="*/ 2147483646 h 52"/>
                <a:gd name="T36" fmla="*/ 2147483646 w 63"/>
                <a:gd name="T37" fmla="*/ 2147483646 h 52"/>
                <a:gd name="T38" fmla="*/ 2147483646 w 63"/>
                <a:gd name="T39" fmla="*/ 2147483646 h 52"/>
                <a:gd name="T40" fmla="*/ 2147483646 w 63"/>
                <a:gd name="T41" fmla="*/ 2147483646 h 52"/>
                <a:gd name="T42" fmla="*/ 2147483646 w 63"/>
                <a:gd name="T43" fmla="*/ 2147483646 h 52"/>
                <a:gd name="T44" fmla="*/ 2147483646 w 63"/>
                <a:gd name="T45" fmla="*/ 2147483646 h 52"/>
                <a:gd name="T46" fmla="*/ 2147483646 w 63"/>
                <a:gd name="T47" fmla="*/ 2147483646 h 52"/>
                <a:gd name="T48" fmla="*/ 2147483646 w 63"/>
                <a:gd name="T49" fmla="*/ 2147483646 h 52"/>
                <a:gd name="T50" fmla="*/ 2147483646 w 63"/>
                <a:gd name="T51" fmla="*/ 2147483646 h 52"/>
                <a:gd name="T52" fmla="*/ 2147483646 w 63"/>
                <a:gd name="T53" fmla="*/ 2147483646 h 52"/>
                <a:gd name="T54" fmla="*/ 2147483646 w 63"/>
                <a:gd name="T55" fmla="*/ 2147483646 h 52"/>
                <a:gd name="T56" fmla="*/ 2147483646 w 63"/>
                <a:gd name="T57" fmla="*/ 2147483646 h 52"/>
                <a:gd name="T58" fmla="*/ 2147483646 w 63"/>
                <a:gd name="T59" fmla="*/ 2147483646 h 52"/>
                <a:gd name="T60" fmla="*/ 2147483646 w 63"/>
                <a:gd name="T61" fmla="*/ 0 h 52"/>
                <a:gd name="T62" fmla="*/ 2147483646 w 63"/>
                <a:gd name="T63" fmla="*/ 2147483646 h 52"/>
                <a:gd name="T64" fmla="*/ 2147483646 w 63"/>
                <a:gd name="T65" fmla="*/ 2147483646 h 52"/>
                <a:gd name="T66" fmla="*/ 2147483646 w 63"/>
                <a:gd name="T67" fmla="*/ 2147483646 h 52"/>
                <a:gd name="T68" fmla="*/ 2147483646 w 63"/>
                <a:gd name="T69" fmla="*/ 2147483646 h 52"/>
                <a:gd name="T70" fmla="*/ 2147483646 w 63"/>
                <a:gd name="T71" fmla="*/ 2147483646 h 52"/>
                <a:gd name="T72" fmla="*/ 2147483646 w 63"/>
                <a:gd name="T73" fmla="*/ 2147483646 h 52"/>
                <a:gd name="T74" fmla="*/ 2147483646 w 63"/>
                <a:gd name="T75" fmla="*/ 2147483646 h 52"/>
                <a:gd name="T76" fmla="*/ 2147483646 w 63"/>
                <a:gd name="T77" fmla="*/ 2147483646 h 52"/>
                <a:gd name="T78" fmla="*/ 2147483646 w 63"/>
                <a:gd name="T79" fmla="*/ 2147483646 h 52"/>
                <a:gd name="T80" fmla="*/ 2147483646 w 63"/>
                <a:gd name="T81" fmla="*/ 2147483646 h 5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3"/>
                <a:gd name="T124" fmla="*/ 0 h 52"/>
                <a:gd name="T125" fmla="*/ 63 w 63"/>
                <a:gd name="T126" fmla="*/ 52 h 5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3" h="52">
                  <a:moveTo>
                    <a:pt x="54" y="42"/>
                  </a:moveTo>
                  <a:lnTo>
                    <a:pt x="53" y="41"/>
                  </a:lnTo>
                  <a:lnTo>
                    <a:pt x="44" y="41"/>
                  </a:lnTo>
                  <a:lnTo>
                    <a:pt x="42" y="47"/>
                  </a:lnTo>
                  <a:lnTo>
                    <a:pt x="40" y="51"/>
                  </a:lnTo>
                  <a:lnTo>
                    <a:pt x="37" y="52"/>
                  </a:lnTo>
                  <a:lnTo>
                    <a:pt x="35" y="51"/>
                  </a:lnTo>
                  <a:lnTo>
                    <a:pt x="33" y="50"/>
                  </a:lnTo>
                  <a:lnTo>
                    <a:pt x="33" y="46"/>
                  </a:lnTo>
                  <a:lnTo>
                    <a:pt x="31" y="45"/>
                  </a:lnTo>
                  <a:lnTo>
                    <a:pt x="27" y="42"/>
                  </a:lnTo>
                  <a:lnTo>
                    <a:pt x="21" y="44"/>
                  </a:lnTo>
                  <a:lnTo>
                    <a:pt x="18" y="45"/>
                  </a:lnTo>
                  <a:lnTo>
                    <a:pt x="15" y="44"/>
                  </a:lnTo>
                  <a:lnTo>
                    <a:pt x="11" y="41"/>
                  </a:lnTo>
                  <a:lnTo>
                    <a:pt x="12" y="34"/>
                  </a:lnTo>
                  <a:lnTo>
                    <a:pt x="8" y="32"/>
                  </a:lnTo>
                  <a:lnTo>
                    <a:pt x="0" y="32"/>
                  </a:lnTo>
                  <a:lnTo>
                    <a:pt x="2" y="25"/>
                  </a:lnTo>
                  <a:lnTo>
                    <a:pt x="5" y="26"/>
                  </a:lnTo>
                  <a:lnTo>
                    <a:pt x="8" y="24"/>
                  </a:lnTo>
                  <a:lnTo>
                    <a:pt x="13" y="23"/>
                  </a:lnTo>
                  <a:lnTo>
                    <a:pt x="17" y="19"/>
                  </a:lnTo>
                  <a:lnTo>
                    <a:pt x="20" y="16"/>
                  </a:lnTo>
                  <a:lnTo>
                    <a:pt x="25" y="16"/>
                  </a:lnTo>
                  <a:lnTo>
                    <a:pt x="30" y="20"/>
                  </a:lnTo>
                  <a:lnTo>
                    <a:pt x="34" y="20"/>
                  </a:lnTo>
                  <a:lnTo>
                    <a:pt x="38" y="18"/>
                  </a:lnTo>
                  <a:lnTo>
                    <a:pt x="44" y="11"/>
                  </a:lnTo>
                  <a:lnTo>
                    <a:pt x="45" y="4"/>
                  </a:lnTo>
                  <a:lnTo>
                    <a:pt x="52" y="0"/>
                  </a:lnTo>
                  <a:lnTo>
                    <a:pt x="56" y="1"/>
                  </a:lnTo>
                  <a:lnTo>
                    <a:pt x="57" y="6"/>
                  </a:lnTo>
                  <a:lnTo>
                    <a:pt x="63" y="10"/>
                  </a:lnTo>
                  <a:lnTo>
                    <a:pt x="59" y="14"/>
                  </a:lnTo>
                  <a:lnTo>
                    <a:pt x="60" y="19"/>
                  </a:lnTo>
                  <a:lnTo>
                    <a:pt x="54" y="25"/>
                  </a:lnTo>
                  <a:lnTo>
                    <a:pt x="53" y="29"/>
                  </a:lnTo>
                  <a:lnTo>
                    <a:pt x="48" y="35"/>
                  </a:lnTo>
                  <a:lnTo>
                    <a:pt x="55" y="39"/>
                  </a:lnTo>
                  <a:lnTo>
                    <a:pt x="54" y="42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45" name="Freeform 13">
              <a:extLst>
                <a:ext uri="{FF2B5EF4-FFF2-40B4-BE49-F238E27FC236}">
                  <a16:creationId xmlns:a16="http://schemas.microsoft.com/office/drawing/2014/main" id="{7A9A927E-DC87-472C-8146-FA79DE3296D1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auto">
            <a:xfrm>
              <a:off x="1400175" y="1871663"/>
              <a:ext cx="1604963" cy="650875"/>
            </a:xfrm>
            <a:custGeom>
              <a:avLst/>
              <a:gdLst>
                <a:gd name="T0" fmla="*/ 2147483646 w 194"/>
                <a:gd name="T1" fmla="*/ 0 h 82"/>
                <a:gd name="T2" fmla="*/ 2147483646 w 194"/>
                <a:gd name="T3" fmla="*/ 2147483646 h 82"/>
                <a:gd name="T4" fmla="*/ 2147483646 w 194"/>
                <a:gd name="T5" fmla="*/ 2147483646 h 82"/>
                <a:gd name="T6" fmla="*/ 2147483646 w 194"/>
                <a:gd name="T7" fmla="*/ 2147483646 h 82"/>
                <a:gd name="T8" fmla="*/ 2147483646 w 194"/>
                <a:gd name="T9" fmla="*/ 2147483646 h 82"/>
                <a:gd name="T10" fmla="*/ 2147483646 w 194"/>
                <a:gd name="T11" fmla="*/ 2147483646 h 82"/>
                <a:gd name="T12" fmla="*/ 2147483646 w 194"/>
                <a:gd name="T13" fmla="*/ 2147483646 h 82"/>
                <a:gd name="T14" fmla="*/ 2147483646 w 194"/>
                <a:gd name="T15" fmla="*/ 2147483646 h 82"/>
                <a:gd name="T16" fmla="*/ 2147483646 w 194"/>
                <a:gd name="T17" fmla="*/ 2147483646 h 82"/>
                <a:gd name="T18" fmla="*/ 2147483646 w 194"/>
                <a:gd name="T19" fmla="*/ 2147483646 h 82"/>
                <a:gd name="T20" fmla="*/ 2147483646 w 194"/>
                <a:gd name="T21" fmla="*/ 2147483646 h 82"/>
                <a:gd name="T22" fmla="*/ 2147483646 w 194"/>
                <a:gd name="T23" fmla="*/ 2147483646 h 82"/>
                <a:gd name="T24" fmla="*/ 2147483646 w 194"/>
                <a:gd name="T25" fmla="*/ 2147483646 h 82"/>
                <a:gd name="T26" fmla="*/ 2147483646 w 194"/>
                <a:gd name="T27" fmla="*/ 2147483646 h 82"/>
                <a:gd name="T28" fmla="*/ 2147483646 w 194"/>
                <a:gd name="T29" fmla="*/ 2147483646 h 82"/>
                <a:gd name="T30" fmla="*/ 2147483646 w 194"/>
                <a:gd name="T31" fmla="*/ 2147483646 h 82"/>
                <a:gd name="T32" fmla="*/ 2147483646 w 194"/>
                <a:gd name="T33" fmla="*/ 2147483646 h 82"/>
                <a:gd name="T34" fmla="*/ 2147483646 w 194"/>
                <a:gd name="T35" fmla="*/ 2147483646 h 82"/>
                <a:gd name="T36" fmla="*/ 2147483646 w 194"/>
                <a:gd name="T37" fmla="*/ 2147483646 h 82"/>
                <a:gd name="T38" fmla="*/ 2147483646 w 194"/>
                <a:gd name="T39" fmla="*/ 2147483646 h 82"/>
                <a:gd name="T40" fmla="*/ 2147483646 w 194"/>
                <a:gd name="T41" fmla="*/ 2147483646 h 82"/>
                <a:gd name="T42" fmla="*/ 2147483646 w 194"/>
                <a:gd name="T43" fmla="*/ 2147483646 h 82"/>
                <a:gd name="T44" fmla="*/ 2147483646 w 194"/>
                <a:gd name="T45" fmla="*/ 2147483646 h 82"/>
                <a:gd name="T46" fmla="*/ 2147483646 w 194"/>
                <a:gd name="T47" fmla="*/ 2147483646 h 82"/>
                <a:gd name="T48" fmla="*/ 2147483646 w 194"/>
                <a:gd name="T49" fmla="*/ 2147483646 h 82"/>
                <a:gd name="T50" fmla="*/ 2147483646 w 194"/>
                <a:gd name="T51" fmla="*/ 2147483646 h 82"/>
                <a:gd name="T52" fmla="*/ 2147483646 w 194"/>
                <a:gd name="T53" fmla="*/ 2147483646 h 82"/>
                <a:gd name="T54" fmla="*/ 2147483646 w 194"/>
                <a:gd name="T55" fmla="*/ 2147483646 h 82"/>
                <a:gd name="T56" fmla="*/ 2147483646 w 194"/>
                <a:gd name="T57" fmla="*/ 2147483646 h 82"/>
                <a:gd name="T58" fmla="*/ 2147483646 w 194"/>
                <a:gd name="T59" fmla="*/ 2147483646 h 82"/>
                <a:gd name="T60" fmla="*/ 2147483646 w 194"/>
                <a:gd name="T61" fmla="*/ 2147483646 h 82"/>
                <a:gd name="T62" fmla="*/ 2147483646 w 194"/>
                <a:gd name="T63" fmla="*/ 2147483646 h 82"/>
                <a:gd name="T64" fmla="*/ 2147483646 w 194"/>
                <a:gd name="T65" fmla="*/ 2147483646 h 82"/>
                <a:gd name="T66" fmla="*/ 2147483646 w 194"/>
                <a:gd name="T67" fmla="*/ 2147483646 h 82"/>
                <a:gd name="T68" fmla="*/ 2147483646 w 194"/>
                <a:gd name="T69" fmla="*/ 2147483646 h 82"/>
                <a:gd name="T70" fmla="*/ 2147483646 w 194"/>
                <a:gd name="T71" fmla="*/ 2147483646 h 82"/>
                <a:gd name="T72" fmla="*/ 2147483646 w 194"/>
                <a:gd name="T73" fmla="*/ 2147483646 h 82"/>
                <a:gd name="T74" fmla="*/ 2147483646 w 194"/>
                <a:gd name="T75" fmla="*/ 2147483646 h 82"/>
                <a:gd name="T76" fmla="*/ 2147483646 w 194"/>
                <a:gd name="T77" fmla="*/ 2147483646 h 82"/>
                <a:gd name="T78" fmla="*/ 2147483646 w 194"/>
                <a:gd name="T79" fmla="*/ 2147483646 h 82"/>
                <a:gd name="T80" fmla="*/ 2147483646 w 194"/>
                <a:gd name="T81" fmla="*/ 2147483646 h 82"/>
                <a:gd name="T82" fmla="*/ 2147483646 w 194"/>
                <a:gd name="T83" fmla="*/ 2147483646 h 82"/>
                <a:gd name="T84" fmla="*/ 2147483646 w 194"/>
                <a:gd name="T85" fmla="*/ 2147483646 h 82"/>
                <a:gd name="T86" fmla="*/ 2147483646 w 194"/>
                <a:gd name="T87" fmla="*/ 2147483646 h 82"/>
                <a:gd name="T88" fmla="*/ 2147483646 w 194"/>
                <a:gd name="T89" fmla="*/ 2147483646 h 82"/>
                <a:gd name="T90" fmla="*/ 2147483646 w 194"/>
                <a:gd name="T91" fmla="*/ 2147483646 h 82"/>
                <a:gd name="T92" fmla="*/ 2147483646 w 194"/>
                <a:gd name="T93" fmla="*/ 2147483646 h 82"/>
                <a:gd name="T94" fmla="*/ 2147483646 w 194"/>
                <a:gd name="T95" fmla="*/ 2147483646 h 82"/>
                <a:gd name="T96" fmla="*/ 2147483646 w 194"/>
                <a:gd name="T97" fmla="*/ 2147483646 h 82"/>
                <a:gd name="T98" fmla="*/ 2147483646 w 194"/>
                <a:gd name="T99" fmla="*/ 2147483646 h 82"/>
                <a:gd name="T100" fmla="*/ 2147483646 w 194"/>
                <a:gd name="T101" fmla="*/ 2147483646 h 82"/>
                <a:gd name="T102" fmla="*/ 0 w 194"/>
                <a:gd name="T103" fmla="*/ 2147483646 h 82"/>
                <a:gd name="T104" fmla="*/ 2147483646 w 194"/>
                <a:gd name="T105" fmla="*/ 2147483646 h 82"/>
                <a:gd name="T106" fmla="*/ 2147483646 w 194"/>
                <a:gd name="T107" fmla="*/ 2147483646 h 82"/>
                <a:gd name="T108" fmla="*/ 2147483646 w 194"/>
                <a:gd name="T109" fmla="*/ 2147483646 h 82"/>
                <a:gd name="T110" fmla="*/ 2147483646 w 194"/>
                <a:gd name="T111" fmla="*/ 2147483646 h 82"/>
                <a:gd name="T112" fmla="*/ 2147483646 w 194"/>
                <a:gd name="T113" fmla="*/ 2147483646 h 82"/>
                <a:gd name="T114" fmla="*/ 2147483646 w 194"/>
                <a:gd name="T115" fmla="*/ 2147483646 h 82"/>
                <a:gd name="T116" fmla="*/ 2147483646 w 194"/>
                <a:gd name="T117" fmla="*/ 2147483646 h 82"/>
                <a:gd name="T118" fmla="*/ 2147483646 w 194"/>
                <a:gd name="T119" fmla="*/ 2147483646 h 82"/>
                <a:gd name="T120" fmla="*/ 2147483646 w 194"/>
                <a:gd name="T121" fmla="*/ 0 h 8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94"/>
                <a:gd name="T184" fmla="*/ 0 h 82"/>
                <a:gd name="T185" fmla="*/ 194 w 194"/>
                <a:gd name="T186" fmla="*/ 82 h 8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94" h="82">
                  <a:moveTo>
                    <a:pt x="40" y="0"/>
                  </a:moveTo>
                  <a:lnTo>
                    <a:pt x="48" y="5"/>
                  </a:lnTo>
                  <a:lnTo>
                    <a:pt x="48" y="7"/>
                  </a:lnTo>
                  <a:lnTo>
                    <a:pt x="65" y="6"/>
                  </a:lnTo>
                  <a:lnTo>
                    <a:pt x="71" y="13"/>
                  </a:lnTo>
                  <a:lnTo>
                    <a:pt x="71" y="16"/>
                  </a:lnTo>
                  <a:lnTo>
                    <a:pt x="63" y="22"/>
                  </a:lnTo>
                  <a:lnTo>
                    <a:pt x="63" y="26"/>
                  </a:lnTo>
                  <a:lnTo>
                    <a:pt x="67" y="29"/>
                  </a:lnTo>
                  <a:lnTo>
                    <a:pt x="66" y="25"/>
                  </a:lnTo>
                  <a:lnTo>
                    <a:pt x="66" y="22"/>
                  </a:lnTo>
                  <a:lnTo>
                    <a:pt x="72" y="18"/>
                  </a:lnTo>
                  <a:lnTo>
                    <a:pt x="75" y="19"/>
                  </a:lnTo>
                  <a:lnTo>
                    <a:pt x="79" y="24"/>
                  </a:lnTo>
                  <a:lnTo>
                    <a:pt x="79" y="27"/>
                  </a:lnTo>
                  <a:lnTo>
                    <a:pt x="79" y="31"/>
                  </a:lnTo>
                  <a:lnTo>
                    <a:pt x="81" y="34"/>
                  </a:lnTo>
                  <a:lnTo>
                    <a:pt x="83" y="34"/>
                  </a:lnTo>
                  <a:lnTo>
                    <a:pt x="82" y="21"/>
                  </a:lnTo>
                  <a:lnTo>
                    <a:pt x="81" y="19"/>
                  </a:lnTo>
                  <a:lnTo>
                    <a:pt x="86" y="8"/>
                  </a:lnTo>
                  <a:lnTo>
                    <a:pt x="90" y="10"/>
                  </a:lnTo>
                  <a:lnTo>
                    <a:pt x="94" y="14"/>
                  </a:lnTo>
                  <a:lnTo>
                    <a:pt x="101" y="16"/>
                  </a:lnTo>
                  <a:lnTo>
                    <a:pt x="108" y="19"/>
                  </a:lnTo>
                  <a:lnTo>
                    <a:pt x="113" y="22"/>
                  </a:lnTo>
                  <a:lnTo>
                    <a:pt x="118" y="23"/>
                  </a:lnTo>
                  <a:lnTo>
                    <a:pt x="123" y="26"/>
                  </a:lnTo>
                  <a:lnTo>
                    <a:pt x="126" y="29"/>
                  </a:lnTo>
                  <a:lnTo>
                    <a:pt x="136" y="27"/>
                  </a:lnTo>
                  <a:lnTo>
                    <a:pt x="149" y="41"/>
                  </a:lnTo>
                  <a:lnTo>
                    <a:pt x="165" y="41"/>
                  </a:lnTo>
                  <a:lnTo>
                    <a:pt x="165" y="38"/>
                  </a:lnTo>
                  <a:lnTo>
                    <a:pt x="163" y="35"/>
                  </a:lnTo>
                  <a:lnTo>
                    <a:pt x="165" y="32"/>
                  </a:lnTo>
                  <a:lnTo>
                    <a:pt x="169" y="28"/>
                  </a:lnTo>
                  <a:lnTo>
                    <a:pt x="173" y="26"/>
                  </a:lnTo>
                  <a:lnTo>
                    <a:pt x="194" y="26"/>
                  </a:lnTo>
                  <a:lnTo>
                    <a:pt x="193" y="58"/>
                  </a:lnTo>
                  <a:lnTo>
                    <a:pt x="192" y="61"/>
                  </a:lnTo>
                  <a:lnTo>
                    <a:pt x="139" y="62"/>
                  </a:lnTo>
                  <a:lnTo>
                    <a:pt x="122" y="59"/>
                  </a:lnTo>
                  <a:lnTo>
                    <a:pt x="109" y="59"/>
                  </a:lnTo>
                  <a:lnTo>
                    <a:pt x="103" y="66"/>
                  </a:lnTo>
                  <a:lnTo>
                    <a:pt x="83" y="66"/>
                  </a:lnTo>
                  <a:lnTo>
                    <a:pt x="83" y="82"/>
                  </a:lnTo>
                  <a:lnTo>
                    <a:pt x="76" y="78"/>
                  </a:lnTo>
                  <a:lnTo>
                    <a:pt x="69" y="78"/>
                  </a:lnTo>
                  <a:lnTo>
                    <a:pt x="68" y="70"/>
                  </a:lnTo>
                  <a:lnTo>
                    <a:pt x="33" y="67"/>
                  </a:lnTo>
                  <a:lnTo>
                    <a:pt x="19" y="56"/>
                  </a:lnTo>
                  <a:lnTo>
                    <a:pt x="0" y="31"/>
                  </a:lnTo>
                  <a:lnTo>
                    <a:pt x="5" y="26"/>
                  </a:lnTo>
                  <a:lnTo>
                    <a:pt x="12" y="26"/>
                  </a:lnTo>
                  <a:lnTo>
                    <a:pt x="16" y="25"/>
                  </a:lnTo>
                  <a:lnTo>
                    <a:pt x="20" y="22"/>
                  </a:lnTo>
                  <a:lnTo>
                    <a:pt x="24" y="19"/>
                  </a:lnTo>
                  <a:lnTo>
                    <a:pt x="27" y="15"/>
                  </a:lnTo>
                  <a:lnTo>
                    <a:pt x="31" y="11"/>
                  </a:lnTo>
                  <a:lnTo>
                    <a:pt x="35" y="8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8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46" name="Freeform 14">
              <a:extLst>
                <a:ext uri="{FF2B5EF4-FFF2-40B4-BE49-F238E27FC236}">
                  <a16:creationId xmlns:a16="http://schemas.microsoft.com/office/drawing/2014/main" id="{52C78CB1-3165-4431-8EB0-AEBFD726B89F}"/>
                </a:ext>
              </a:extLst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543050" y="2306638"/>
              <a:ext cx="984250" cy="942975"/>
            </a:xfrm>
            <a:custGeom>
              <a:avLst/>
              <a:gdLst>
                <a:gd name="T0" fmla="*/ 2147483646 w 119"/>
                <a:gd name="T1" fmla="*/ 2147483646 h 119"/>
                <a:gd name="T2" fmla="*/ 2147483646 w 119"/>
                <a:gd name="T3" fmla="*/ 2147483646 h 119"/>
                <a:gd name="T4" fmla="*/ 2147483646 w 119"/>
                <a:gd name="T5" fmla="*/ 2147483646 h 119"/>
                <a:gd name="T6" fmla="*/ 2147483646 w 119"/>
                <a:gd name="T7" fmla="*/ 2147483646 h 119"/>
                <a:gd name="T8" fmla="*/ 2147483646 w 119"/>
                <a:gd name="T9" fmla="*/ 2147483646 h 119"/>
                <a:gd name="T10" fmla="*/ 2147483646 w 119"/>
                <a:gd name="T11" fmla="*/ 2147483646 h 119"/>
                <a:gd name="T12" fmla="*/ 2147483646 w 119"/>
                <a:gd name="T13" fmla="*/ 2147483646 h 119"/>
                <a:gd name="T14" fmla="*/ 2147483646 w 119"/>
                <a:gd name="T15" fmla="*/ 2147483646 h 119"/>
                <a:gd name="T16" fmla="*/ 2147483646 w 119"/>
                <a:gd name="T17" fmla="*/ 2147483646 h 119"/>
                <a:gd name="T18" fmla="*/ 2147483646 w 119"/>
                <a:gd name="T19" fmla="*/ 2147483646 h 119"/>
                <a:gd name="T20" fmla="*/ 2147483646 w 119"/>
                <a:gd name="T21" fmla="*/ 2147483646 h 119"/>
                <a:gd name="T22" fmla="*/ 2147483646 w 119"/>
                <a:gd name="T23" fmla="*/ 2147483646 h 119"/>
                <a:gd name="T24" fmla="*/ 2147483646 w 119"/>
                <a:gd name="T25" fmla="*/ 2147483646 h 119"/>
                <a:gd name="T26" fmla="*/ 2147483646 w 119"/>
                <a:gd name="T27" fmla="*/ 2147483646 h 119"/>
                <a:gd name="T28" fmla="*/ 2147483646 w 119"/>
                <a:gd name="T29" fmla="*/ 2147483646 h 119"/>
                <a:gd name="T30" fmla="*/ 2147483646 w 119"/>
                <a:gd name="T31" fmla="*/ 2147483646 h 119"/>
                <a:gd name="T32" fmla="*/ 2147483646 w 119"/>
                <a:gd name="T33" fmla="*/ 2147483646 h 119"/>
                <a:gd name="T34" fmla="*/ 2147483646 w 119"/>
                <a:gd name="T35" fmla="*/ 2147483646 h 119"/>
                <a:gd name="T36" fmla="*/ 2147483646 w 119"/>
                <a:gd name="T37" fmla="*/ 2147483646 h 119"/>
                <a:gd name="T38" fmla="*/ 2147483646 w 119"/>
                <a:gd name="T39" fmla="*/ 2147483646 h 119"/>
                <a:gd name="T40" fmla="*/ 2147483646 w 119"/>
                <a:gd name="T41" fmla="*/ 2147483646 h 119"/>
                <a:gd name="T42" fmla="*/ 2147483646 w 119"/>
                <a:gd name="T43" fmla="*/ 2147483646 h 119"/>
                <a:gd name="T44" fmla="*/ 2147483646 w 119"/>
                <a:gd name="T45" fmla="*/ 2147483646 h 119"/>
                <a:gd name="T46" fmla="*/ 2147483646 w 119"/>
                <a:gd name="T47" fmla="*/ 2147483646 h 119"/>
                <a:gd name="T48" fmla="*/ 2147483646 w 119"/>
                <a:gd name="T49" fmla="*/ 2147483646 h 119"/>
                <a:gd name="T50" fmla="*/ 2147483646 w 119"/>
                <a:gd name="T51" fmla="*/ 2147483646 h 119"/>
                <a:gd name="T52" fmla="*/ 2147483646 w 119"/>
                <a:gd name="T53" fmla="*/ 2147483646 h 119"/>
                <a:gd name="T54" fmla="*/ 2147483646 w 119"/>
                <a:gd name="T55" fmla="*/ 2147483646 h 119"/>
                <a:gd name="T56" fmla="*/ 2147483646 w 119"/>
                <a:gd name="T57" fmla="*/ 2147483646 h 119"/>
                <a:gd name="T58" fmla="*/ 2147483646 w 119"/>
                <a:gd name="T59" fmla="*/ 2147483646 h 119"/>
                <a:gd name="T60" fmla="*/ 2147483646 w 119"/>
                <a:gd name="T61" fmla="*/ 2147483646 h 119"/>
                <a:gd name="T62" fmla="*/ 2147483646 w 119"/>
                <a:gd name="T63" fmla="*/ 2147483646 h 119"/>
                <a:gd name="T64" fmla="*/ 2147483646 w 119"/>
                <a:gd name="T65" fmla="*/ 2147483646 h 119"/>
                <a:gd name="T66" fmla="*/ 2147483646 w 119"/>
                <a:gd name="T67" fmla="*/ 2147483646 h 119"/>
                <a:gd name="T68" fmla="*/ 2147483646 w 119"/>
                <a:gd name="T69" fmla="*/ 2147483646 h 119"/>
                <a:gd name="T70" fmla="*/ 2147483646 w 119"/>
                <a:gd name="T71" fmla="*/ 2147483646 h 119"/>
                <a:gd name="T72" fmla="*/ 2147483646 w 119"/>
                <a:gd name="T73" fmla="*/ 2147483646 h 119"/>
                <a:gd name="T74" fmla="*/ 2147483646 w 119"/>
                <a:gd name="T75" fmla="*/ 2147483646 h 119"/>
                <a:gd name="T76" fmla="*/ 2147483646 w 119"/>
                <a:gd name="T77" fmla="*/ 2147483646 h 119"/>
                <a:gd name="T78" fmla="*/ 2147483646 w 119"/>
                <a:gd name="T79" fmla="*/ 2147483646 h 119"/>
                <a:gd name="T80" fmla="*/ 2147483646 w 119"/>
                <a:gd name="T81" fmla="*/ 2147483646 h 119"/>
                <a:gd name="T82" fmla="*/ 0 w 119"/>
                <a:gd name="T83" fmla="*/ 2147483646 h 119"/>
                <a:gd name="T84" fmla="*/ 2147483646 w 119"/>
                <a:gd name="T85" fmla="*/ 2147483646 h 119"/>
                <a:gd name="T86" fmla="*/ 2147483646 w 119"/>
                <a:gd name="T87" fmla="*/ 2147483646 h 119"/>
                <a:gd name="T88" fmla="*/ 2147483646 w 119"/>
                <a:gd name="T89" fmla="*/ 2147483646 h 119"/>
                <a:gd name="T90" fmla="*/ 2147483646 w 119"/>
                <a:gd name="T91" fmla="*/ 2147483646 h 119"/>
                <a:gd name="T92" fmla="*/ 2147483646 w 119"/>
                <a:gd name="T93" fmla="*/ 2147483646 h 119"/>
                <a:gd name="T94" fmla="*/ 2147483646 w 119"/>
                <a:gd name="T95" fmla="*/ 0 h 119"/>
                <a:gd name="T96" fmla="*/ 2147483646 w 119"/>
                <a:gd name="T97" fmla="*/ 2147483646 h 119"/>
                <a:gd name="T98" fmla="*/ 2147483646 w 119"/>
                <a:gd name="T99" fmla="*/ 2147483646 h 119"/>
                <a:gd name="T100" fmla="*/ 2147483646 w 119"/>
                <a:gd name="T101" fmla="*/ 2147483646 h 119"/>
                <a:gd name="T102" fmla="*/ 2147483646 w 119"/>
                <a:gd name="T103" fmla="*/ 2147483646 h 119"/>
                <a:gd name="T104" fmla="*/ 2147483646 w 119"/>
                <a:gd name="T105" fmla="*/ 2147483646 h 119"/>
                <a:gd name="T106" fmla="*/ 2147483646 w 119"/>
                <a:gd name="T107" fmla="*/ 2147483646 h 119"/>
                <a:gd name="T108" fmla="*/ 2147483646 w 119"/>
                <a:gd name="T109" fmla="*/ 2147483646 h 119"/>
                <a:gd name="T110" fmla="*/ 2147483646 w 119"/>
                <a:gd name="T111" fmla="*/ 2147483646 h 119"/>
                <a:gd name="T112" fmla="*/ 2147483646 w 119"/>
                <a:gd name="T113" fmla="*/ 2147483646 h 119"/>
                <a:gd name="T114" fmla="*/ 2147483646 w 119"/>
                <a:gd name="T115" fmla="*/ 2147483646 h 119"/>
                <a:gd name="T116" fmla="*/ 2147483646 w 119"/>
                <a:gd name="T117" fmla="*/ 2147483646 h 119"/>
                <a:gd name="T118" fmla="*/ 2147483646 w 119"/>
                <a:gd name="T119" fmla="*/ 2147483646 h 119"/>
                <a:gd name="T120" fmla="*/ 2147483646 w 119"/>
                <a:gd name="T121" fmla="*/ 2147483646 h 119"/>
                <a:gd name="T122" fmla="*/ 2147483646 w 119"/>
                <a:gd name="T123" fmla="*/ 2147483646 h 11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9"/>
                <a:gd name="T187" fmla="*/ 0 h 119"/>
                <a:gd name="T188" fmla="*/ 119 w 119"/>
                <a:gd name="T189" fmla="*/ 119 h 11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9" h="119">
                  <a:moveTo>
                    <a:pt x="88" y="57"/>
                  </a:moveTo>
                  <a:lnTo>
                    <a:pt x="85" y="59"/>
                  </a:lnTo>
                  <a:lnTo>
                    <a:pt x="85" y="63"/>
                  </a:lnTo>
                  <a:lnTo>
                    <a:pt x="88" y="68"/>
                  </a:lnTo>
                  <a:lnTo>
                    <a:pt x="91" y="72"/>
                  </a:lnTo>
                  <a:lnTo>
                    <a:pt x="99" y="74"/>
                  </a:lnTo>
                  <a:lnTo>
                    <a:pt x="105" y="76"/>
                  </a:lnTo>
                  <a:lnTo>
                    <a:pt x="110" y="79"/>
                  </a:lnTo>
                  <a:lnTo>
                    <a:pt x="114" y="84"/>
                  </a:lnTo>
                  <a:lnTo>
                    <a:pt x="118" y="90"/>
                  </a:lnTo>
                  <a:lnTo>
                    <a:pt x="119" y="93"/>
                  </a:lnTo>
                  <a:lnTo>
                    <a:pt x="118" y="96"/>
                  </a:lnTo>
                  <a:lnTo>
                    <a:pt x="116" y="99"/>
                  </a:lnTo>
                  <a:lnTo>
                    <a:pt x="114" y="102"/>
                  </a:lnTo>
                  <a:lnTo>
                    <a:pt x="115" y="106"/>
                  </a:lnTo>
                  <a:lnTo>
                    <a:pt x="116" y="110"/>
                  </a:lnTo>
                  <a:lnTo>
                    <a:pt x="118" y="112"/>
                  </a:lnTo>
                  <a:lnTo>
                    <a:pt x="111" y="113"/>
                  </a:lnTo>
                  <a:lnTo>
                    <a:pt x="104" y="115"/>
                  </a:lnTo>
                  <a:lnTo>
                    <a:pt x="96" y="111"/>
                  </a:lnTo>
                  <a:lnTo>
                    <a:pt x="89" y="110"/>
                  </a:lnTo>
                  <a:lnTo>
                    <a:pt x="85" y="114"/>
                  </a:lnTo>
                  <a:lnTo>
                    <a:pt x="80" y="115"/>
                  </a:lnTo>
                  <a:lnTo>
                    <a:pt x="70" y="119"/>
                  </a:lnTo>
                  <a:lnTo>
                    <a:pt x="65" y="114"/>
                  </a:lnTo>
                  <a:lnTo>
                    <a:pt x="59" y="110"/>
                  </a:lnTo>
                  <a:lnTo>
                    <a:pt x="54" y="110"/>
                  </a:lnTo>
                  <a:lnTo>
                    <a:pt x="42" y="113"/>
                  </a:lnTo>
                  <a:lnTo>
                    <a:pt x="32" y="108"/>
                  </a:lnTo>
                  <a:lnTo>
                    <a:pt x="29" y="101"/>
                  </a:lnTo>
                  <a:lnTo>
                    <a:pt x="25" y="96"/>
                  </a:lnTo>
                  <a:lnTo>
                    <a:pt x="27" y="91"/>
                  </a:lnTo>
                  <a:lnTo>
                    <a:pt x="32" y="91"/>
                  </a:lnTo>
                  <a:lnTo>
                    <a:pt x="31" y="83"/>
                  </a:lnTo>
                  <a:lnTo>
                    <a:pt x="34" y="77"/>
                  </a:lnTo>
                  <a:lnTo>
                    <a:pt x="32" y="71"/>
                  </a:lnTo>
                  <a:lnTo>
                    <a:pt x="38" y="63"/>
                  </a:lnTo>
                  <a:lnTo>
                    <a:pt x="41" y="58"/>
                  </a:lnTo>
                  <a:lnTo>
                    <a:pt x="39" y="55"/>
                  </a:lnTo>
                  <a:lnTo>
                    <a:pt x="34" y="49"/>
                  </a:lnTo>
                  <a:lnTo>
                    <a:pt x="25" y="45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8" y="22"/>
                  </a:lnTo>
                  <a:lnTo>
                    <a:pt x="6" y="17"/>
                  </a:lnTo>
                  <a:lnTo>
                    <a:pt x="9" y="13"/>
                  </a:lnTo>
                  <a:lnTo>
                    <a:pt x="13" y="11"/>
                  </a:lnTo>
                  <a:lnTo>
                    <a:pt x="16" y="0"/>
                  </a:lnTo>
                  <a:lnTo>
                    <a:pt x="51" y="3"/>
                  </a:lnTo>
                  <a:lnTo>
                    <a:pt x="52" y="11"/>
                  </a:lnTo>
                  <a:lnTo>
                    <a:pt x="59" y="11"/>
                  </a:lnTo>
                  <a:lnTo>
                    <a:pt x="66" y="15"/>
                  </a:lnTo>
                  <a:lnTo>
                    <a:pt x="73" y="22"/>
                  </a:lnTo>
                  <a:lnTo>
                    <a:pt x="73" y="27"/>
                  </a:lnTo>
                  <a:lnTo>
                    <a:pt x="71" y="31"/>
                  </a:lnTo>
                  <a:lnTo>
                    <a:pt x="74" y="33"/>
                  </a:lnTo>
                  <a:lnTo>
                    <a:pt x="75" y="39"/>
                  </a:lnTo>
                  <a:lnTo>
                    <a:pt x="77" y="41"/>
                  </a:lnTo>
                  <a:lnTo>
                    <a:pt x="81" y="43"/>
                  </a:lnTo>
                  <a:lnTo>
                    <a:pt x="85" y="46"/>
                  </a:lnTo>
                  <a:lnTo>
                    <a:pt x="87" y="53"/>
                  </a:lnTo>
                  <a:lnTo>
                    <a:pt x="88" y="57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47" name="Freeform 15">
              <a:extLst>
                <a:ext uri="{FF2B5EF4-FFF2-40B4-BE49-F238E27FC236}">
                  <a16:creationId xmlns:a16="http://schemas.microsoft.com/office/drawing/2014/main" id="{BFE7DC5A-5FA1-4D82-9A03-567E199533BC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392113" y="2595563"/>
              <a:ext cx="842962" cy="838200"/>
            </a:xfrm>
            <a:custGeom>
              <a:avLst/>
              <a:gdLst>
                <a:gd name="T0" fmla="*/ 2147483646 w 102"/>
                <a:gd name="T1" fmla="*/ 2147483646 h 106"/>
                <a:gd name="T2" fmla="*/ 2147483646 w 102"/>
                <a:gd name="T3" fmla="*/ 2147483646 h 106"/>
                <a:gd name="T4" fmla="*/ 2147483646 w 102"/>
                <a:gd name="T5" fmla="*/ 2147483646 h 106"/>
                <a:gd name="T6" fmla="*/ 2147483646 w 102"/>
                <a:gd name="T7" fmla="*/ 2147483646 h 106"/>
                <a:gd name="T8" fmla="*/ 2147483646 w 102"/>
                <a:gd name="T9" fmla="*/ 2147483646 h 106"/>
                <a:gd name="T10" fmla="*/ 2147483646 w 102"/>
                <a:gd name="T11" fmla="*/ 2147483646 h 106"/>
                <a:gd name="T12" fmla="*/ 2147483646 w 102"/>
                <a:gd name="T13" fmla="*/ 2147483646 h 106"/>
                <a:gd name="T14" fmla="*/ 2147483646 w 102"/>
                <a:gd name="T15" fmla="*/ 2147483646 h 106"/>
                <a:gd name="T16" fmla="*/ 2147483646 w 102"/>
                <a:gd name="T17" fmla="*/ 2147483646 h 106"/>
                <a:gd name="T18" fmla="*/ 2147483646 w 102"/>
                <a:gd name="T19" fmla="*/ 2147483646 h 106"/>
                <a:gd name="T20" fmla="*/ 2147483646 w 102"/>
                <a:gd name="T21" fmla="*/ 2147483646 h 106"/>
                <a:gd name="T22" fmla="*/ 2147483646 w 102"/>
                <a:gd name="T23" fmla="*/ 2147483646 h 106"/>
                <a:gd name="T24" fmla="*/ 2147483646 w 102"/>
                <a:gd name="T25" fmla="*/ 2147483646 h 106"/>
                <a:gd name="T26" fmla="*/ 2147483646 w 102"/>
                <a:gd name="T27" fmla="*/ 2147483646 h 106"/>
                <a:gd name="T28" fmla="*/ 2147483646 w 102"/>
                <a:gd name="T29" fmla="*/ 2147483646 h 106"/>
                <a:gd name="T30" fmla="*/ 2147483646 w 102"/>
                <a:gd name="T31" fmla="*/ 2147483646 h 106"/>
                <a:gd name="T32" fmla="*/ 2147483646 w 102"/>
                <a:gd name="T33" fmla="*/ 2147483646 h 106"/>
                <a:gd name="T34" fmla="*/ 2147483646 w 102"/>
                <a:gd name="T35" fmla="*/ 2147483646 h 106"/>
                <a:gd name="T36" fmla="*/ 2147483646 w 102"/>
                <a:gd name="T37" fmla="*/ 2147483646 h 106"/>
                <a:gd name="T38" fmla="*/ 2147483646 w 102"/>
                <a:gd name="T39" fmla="*/ 2147483646 h 106"/>
                <a:gd name="T40" fmla="*/ 2147483646 w 102"/>
                <a:gd name="T41" fmla="*/ 2147483646 h 106"/>
                <a:gd name="T42" fmla="*/ 2147483646 w 102"/>
                <a:gd name="T43" fmla="*/ 2147483646 h 106"/>
                <a:gd name="T44" fmla="*/ 2147483646 w 102"/>
                <a:gd name="T45" fmla="*/ 2147483646 h 106"/>
                <a:gd name="T46" fmla="*/ 2147483646 w 102"/>
                <a:gd name="T47" fmla="*/ 2147483646 h 106"/>
                <a:gd name="T48" fmla="*/ 2147483646 w 102"/>
                <a:gd name="T49" fmla="*/ 2147483646 h 106"/>
                <a:gd name="T50" fmla="*/ 2147483646 w 102"/>
                <a:gd name="T51" fmla="*/ 2147483646 h 106"/>
                <a:gd name="T52" fmla="*/ 2147483646 w 102"/>
                <a:gd name="T53" fmla="*/ 2147483646 h 106"/>
                <a:gd name="T54" fmla="*/ 2147483646 w 102"/>
                <a:gd name="T55" fmla="*/ 2147483646 h 106"/>
                <a:gd name="T56" fmla="*/ 2147483646 w 102"/>
                <a:gd name="T57" fmla="*/ 2147483646 h 106"/>
                <a:gd name="T58" fmla="*/ 2147483646 w 102"/>
                <a:gd name="T59" fmla="*/ 2147483646 h 106"/>
                <a:gd name="T60" fmla="*/ 2147483646 w 102"/>
                <a:gd name="T61" fmla="*/ 2147483646 h 106"/>
                <a:gd name="T62" fmla="*/ 2147483646 w 102"/>
                <a:gd name="T63" fmla="*/ 2147483646 h 106"/>
                <a:gd name="T64" fmla="*/ 2147483646 w 102"/>
                <a:gd name="T65" fmla="*/ 2147483646 h 106"/>
                <a:gd name="T66" fmla="*/ 2147483646 w 102"/>
                <a:gd name="T67" fmla="*/ 2147483646 h 106"/>
                <a:gd name="T68" fmla="*/ 2147483646 w 102"/>
                <a:gd name="T69" fmla="*/ 2147483646 h 106"/>
                <a:gd name="T70" fmla="*/ 2147483646 w 102"/>
                <a:gd name="T71" fmla="*/ 2147483646 h 106"/>
                <a:gd name="T72" fmla="*/ 2147483646 w 102"/>
                <a:gd name="T73" fmla="*/ 2147483646 h 10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2"/>
                <a:gd name="T112" fmla="*/ 0 h 106"/>
                <a:gd name="T113" fmla="*/ 102 w 102"/>
                <a:gd name="T114" fmla="*/ 106 h 10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2" h="106">
                  <a:moveTo>
                    <a:pt x="26" y="106"/>
                  </a:moveTo>
                  <a:lnTo>
                    <a:pt x="21" y="106"/>
                  </a:lnTo>
                  <a:lnTo>
                    <a:pt x="11" y="98"/>
                  </a:lnTo>
                  <a:lnTo>
                    <a:pt x="10" y="95"/>
                  </a:lnTo>
                  <a:lnTo>
                    <a:pt x="7" y="90"/>
                  </a:lnTo>
                  <a:lnTo>
                    <a:pt x="7" y="85"/>
                  </a:lnTo>
                  <a:lnTo>
                    <a:pt x="8" y="80"/>
                  </a:lnTo>
                  <a:lnTo>
                    <a:pt x="9" y="78"/>
                  </a:lnTo>
                  <a:lnTo>
                    <a:pt x="6" y="77"/>
                  </a:lnTo>
                  <a:lnTo>
                    <a:pt x="8" y="74"/>
                  </a:lnTo>
                  <a:lnTo>
                    <a:pt x="7" y="68"/>
                  </a:lnTo>
                  <a:lnTo>
                    <a:pt x="5" y="62"/>
                  </a:lnTo>
                  <a:lnTo>
                    <a:pt x="0" y="54"/>
                  </a:lnTo>
                  <a:lnTo>
                    <a:pt x="4" y="56"/>
                  </a:lnTo>
                  <a:lnTo>
                    <a:pt x="8" y="55"/>
                  </a:lnTo>
                  <a:lnTo>
                    <a:pt x="13" y="55"/>
                  </a:lnTo>
                  <a:lnTo>
                    <a:pt x="18" y="49"/>
                  </a:lnTo>
                  <a:lnTo>
                    <a:pt x="18" y="37"/>
                  </a:lnTo>
                  <a:lnTo>
                    <a:pt x="24" y="40"/>
                  </a:lnTo>
                  <a:lnTo>
                    <a:pt x="33" y="43"/>
                  </a:lnTo>
                  <a:lnTo>
                    <a:pt x="35" y="46"/>
                  </a:lnTo>
                  <a:lnTo>
                    <a:pt x="38" y="48"/>
                  </a:lnTo>
                  <a:lnTo>
                    <a:pt x="41" y="48"/>
                  </a:lnTo>
                  <a:lnTo>
                    <a:pt x="44" y="45"/>
                  </a:lnTo>
                  <a:lnTo>
                    <a:pt x="45" y="43"/>
                  </a:lnTo>
                  <a:lnTo>
                    <a:pt x="50" y="42"/>
                  </a:lnTo>
                  <a:lnTo>
                    <a:pt x="54" y="37"/>
                  </a:lnTo>
                  <a:lnTo>
                    <a:pt x="55" y="33"/>
                  </a:lnTo>
                  <a:lnTo>
                    <a:pt x="54" y="30"/>
                  </a:lnTo>
                  <a:lnTo>
                    <a:pt x="52" y="25"/>
                  </a:lnTo>
                  <a:lnTo>
                    <a:pt x="54" y="22"/>
                  </a:lnTo>
                  <a:lnTo>
                    <a:pt x="55" y="20"/>
                  </a:lnTo>
                  <a:lnTo>
                    <a:pt x="54" y="18"/>
                  </a:lnTo>
                  <a:lnTo>
                    <a:pt x="50" y="14"/>
                  </a:lnTo>
                  <a:lnTo>
                    <a:pt x="45" y="17"/>
                  </a:lnTo>
                  <a:lnTo>
                    <a:pt x="38" y="17"/>
                  </a:lnTo>
                  <a:lnTo>
                    <a:pt x="34" y="12"/>
                  </a:lnTo>
                  <a:lnTo>
                    <a:pt x="31" y="6"/>
                  </a:lnTo>
                  <a:lnTo>
                    <a:pt x="29" y="0"/>
                  </a:lnTo>
                  <a:lnTo>
                    <a:pt x="39" y="1"/>
                  </a:lnTo>
                  <a:lnTo>
                    <a:pt x="65" y="13"/>
                  </a:lnTo>
                  <a:lnTo>
                    <a:pt x="65" y="16"/>
                  </a:lnTo>
                  <a:lnTo>
                    <a:pt x="71" y="21"/>
                  </a:lnTo>
                  <a:lnTo>
                    <a:pt x="76" y="22"/>
                  </a:lnTo>
                  <a:lnTo>
                    <a:pt x="82" y="24"/>
                  </a:lnTo>
                  <a:lnTo>
                    <a:pt x="83" y="27"/>
                  </a:lnTo>
                  <a:lnTo>
                    <a:pt x="82" y="31"/>
                  </a:lnTo>
                  <a:lnTo>
                    <a:pt x="80" y="35"/>
                  </a:lnTo>
                  <a:lnTo>
                    <a:pt x="83" y="38"/>
                  </a:lnTo>
                  <a:lnTo>
                    <a:pt x="86" y="41"/>
                  </a:lnTo>
                  <a:lnTo>
                    <a:pt x="89" y="35"/>
                  </a:lnTo>
                  <a:lnTo>
                    <a:pt x="94" y="34"/>
                  </a:lnTo>
                  <a:lnTo>
                    <a:pt x="94" y="38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98" y="53"/>
                  </a:lnTo>
                  <a:lnTo>
                    <a:pt x="94" y="53"/>
                  </a:lnTo>
                  <a:lnTo>
                    <a:pt x="88" y="59"/>
                  </a:lnTo>
                  <a:lnTo>
                    <a:pt x="86" y="66"/>
                  </a:lnTo>
                  <a:lnTo>
                    <a:pt x="84" y="72"/>
                  </a:lnTo>
                  <a:lnTo>
                    <a:pt x="84" y="80"/>
                  </a:lnTo>
                  <a:lnTo>
                    <a:pt x="81" y="78"/>
                  </a:lnTo>
                  <a:lnTo>
                    <a:pt x="80" y="84"/>
                  </a:lnTo>
                  <a:lnTo>
                    <a:pt x="83" y="85"/>
                  </a:lnTo>
                  <a:lnTo>
                    <a:pt x="82" y="97"/>
                  </a:lnTo>
                  <a:lnTo>
                    <a:pt x="77" y="105"/>
                  </a:lnTo>
                  <a:lnTo>
                    <a:pt x="70" y="104"/>
                  </a:lnTo>
                  <a:lnTo>
                    <a:pt x="65" y="100"/>
                  </a:lnTo>
                  <a:lnTo>
                    <a:pt x="63" y="94"/>
                  </a:lnTo>
                  <a:lnTo>
                    <a:pt x="57" y="93"/>
                  </a:lnTo>
                  <a:lnTo>
                    <a:pt x="54" y="94"/>
                  </a:lnTo>
                  <a:lnTo>
                    <a:pt x="48" y="100"/>
                  </a:lnTo>
                  <a:lnTo>
                    <a:pt x="30" y="97"/>
                  </a:lnTo>
                  <a:lnTo>
                    <a:pt x="27" y="102"/>
                  </a:lnTo>
                  <a:lnTo>
                    <a:pt x="26" y="106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48" name="Freeform 16">
              <a:extLst>
                <a:ext uri="{FF2B5EF4-FFF2-40B4-BE49-F238E27FC236}">
                  <a16:creationId xmlns:a16="http://schemas.microsoft.com/office/drawing/2014/main" id="{98CADD15-5709-4728-9C79-16D48DEB4AA0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554038" y="2079625"/>
              <a:ext cx="1222375" cy="874713"/>
            </a:xfrm>
            <a:custGeom>
              <a:avLst/>
              <a:gdLst>
                <a:gd name="T0" fmla="*/ 2147483646 w 148"/>
                <a:gd name="T1" fmla="*/ 2147483646 h 107"/>
                <a:gd name="T2" fmla="*/ 0 w 148"/>
                <a:gd name="T3" fmla="*/ 2147483646 h 107"/>
                <a:gd name="T4" fmla="*/ 2147483646 w 148"/>
                <a:gd name="T5" fmla="*/ 2147483646 h 107"/>
                <a:gd name="T6" fmla="*/ 2147483646 w 148"/>
                <a:gd name="T7" fmla="*/ 2147483646 h 107"/>
                <a:gd name="T8" fmla="*/ 2147483646 w 148"/>
                <a:gd name="T9" fmla="*/ 2147483646 h 107"/>
                <a:gd name="T10" fmla="*/ 2147483646 w 148"/>
                <a:gd name="T11" fmla="*/ 2147483646 h 107"/>
                <a:gd name="T12" fmla="*/ 2147483646 w 148"/>
                <a:gd name="T13" fmla="*/ 2147483646 h 107"/>
                <a:gd name="T14" fmla="*/ 2147483646 w 148"/>
                <a:gd name="T15" fmla="*/ 2147483646 h 107"/>
                <a:gd name="T16" fmla="*/ 2147483646 w 148"/>
                <a:gd name="T17" fmla="*/ 2147483646 h 107"/>
                <a:gd name="T18" fmla="*/ 2147483646 w 148"/>
                <a:gd name="T19" fmla="*/ 2147483646 h 107"/>
                <a:gd name="T20" fmla="*/ 2147483646 w 148"/>
                <a:gd name="T21" fmla="*/ 2147483646 h 107"/>
                <a:gd name="T22" fmla="*/ 2147483646 w 148"/>
                <a:gd name="T23" fmla="*/ 2147483646 h 107"/>
                <a:gd name="T24" fmla="*/ 2147483646 w 148"/>
                <a:gd name="T25" fmla="*/ 2147483646 h 107"/>
                <a:gd name="T26" fmla="*/ 2147483646 w 148"/>
                <a:gd name="T27" fmla="*/ 2147483646 h 107"/>
                <a:gd name="T28" fmla="*/ 2147483646 w 148"/>
                <a:gd name="T29" fmla="*/ 2147483646 h 107"/>
                <a:gd name="T30" fmla="*/ 2147483646 w 148"/>
                <a:gd name="T31" fmla="*/ 2147483646 h 107"/>
                <a:gd name="T32" fmla="*/ 2147483646 w 148"/>
                <a:gd name="T33" fmla="*/ 2147483646 h 107"/>
                <a:gd name="T34" fmla="*/ 2147483646 w 148"/>
                <a:gd name="T35" fmla="*/ 2147483646 h 107"/>
                <a:gd name="T36" fmla="*/ 2147483646 w 148"/>
                <a:gd name="T37" fmla="*/ 2147483646 h 107"/>
                <a:gd name="T38" fmla="*/ 2147483646 w 148"/>
                <a:gd name="T39" fmla="*/ 2147483646 h 107"/>
                <a:gd name="T40" fmla="*/ 2147483646 w 148"/>
                <a:gd name="T41" fmla="*/ 2147483646 h 107"/>
                <a:gd name="T42" fmla="*/ 2147483646 w 148"/>
                <a:gd name="T43" fmla="*/ 2147483646 h 107"/>
                <a:gd name="T44" fmla="*/ 2147483646 w 148"/>
                <a:gd name="T45" fmla="*/ 2147483646 h 107"/>
                <a:gd name="T46" fmla="*/ 2147483646 w 148"/>
                <a:gd name="T47" fmla="*/ 2147483646 h 107"/>
                <a:gd name="T48" fmla="*/ 2147483646 w 148"/>
                <a:gd name="T49" fmla="*/ 2147483646 h 107"/>
                <a:gd name="T50" fmla="*/ 2147483646 w 148"/>
                <a:gd name="T51" fmla="*/ 2147483646 h 107"/>
                <a:gd name="T52" fmla="*/ 2147483646 w 148"/>
                <a:gd name="T53" fmla="*/ 2147483646 h 107"/>
                <a:gd name="T54" fmla="*/ 2147483646 w 148"/>
                <a:gd name="T55" fmla="*/ 2147483646 h 107"/>
                <a:gd name="T56" fmla="*/ 2147483646 w 148"/>
                <a:gd name="T57" fmla="*/ 2147483646 h 107"/>
                <a:gd name="T58" fmla="*/ 2147483646 w 148"/>
                <a:gd name="T59" fmla="*/ 2147483646 h 107"/>
                <a:gd name="T60" fmla="*/ 2147483646 w 148"/>
                <a:gd name="T61" fmla="*/ 2147483646 h 107"/>
                <a:gd name="T62" fmla="*/ 2147483646 w 148"/>
                <a:gd name="T63" fmla="*/ 2147483646 h 107"/>
                <a:gd name="T64" fmla="*/ 2147483646 w 148"/>
                <a:gd name="T65" fmla="*/ 2147483646 h 107"/>
                <a:gd name="T66" fmla="*/ 2147483646 w 148"/>
                <a:gd name="T67" fmla="*/ 2147483646 h 107"/>
                <a:gd name="T68" fmla="*/ 2147483646 w 148"/>
                <a:gd name="T69" fmla="*/ 2147483646 h 107"/>
                <a:gd name="T70" fmla="*/ 2147483646 w 148"/>
                <a:gd name="T71" fmla="*/ 2147483646 h 107"/>
                <a:gd name="T72" fmla="*/ 2147483646 w 148"/>
                <a:gd name="T73" fmla="*/ 2147483646 h 107"/>
                <a:gd name="T74" fmla="*/ 2147483646 w 148"/>
                <a:gd name="T75" fmla="*/ 2147483646 h 107"/>
                <a:gd name="T76" fmla="*/ 2147483646 w 148"/>
                <a:gd name="T77" fmla="*/ 2147483646 h 107"/>
                <a:gd name="T78" fmla="*/ 2147483646 w 148"/>
                <a:gd name="T79" fmla="*/ 2147483646 h 107"/>
                <a:gd name="T80" fmla="*/ 2147483646 w 148"/>
                <a:gd name="T81" fmla="*/ 2147483646 h 107"/>
                <a:gd name="T82" fmla="*/ 2147483646 w 148"/>
                <a:gd name="T83" fmla="*/ 2147483646 h 107"/>
                <a:gd name="T84" fmla="*/ 2147483646 w 148"/>
                <a:gd name="T85" fmla="*/ 2147483646 h 107"/>
                <a:gd name="T86" fmla="*/ 2147483646 w 148"/>
                <a:gd name="T87" fmla="*/ 2147483646 h 107"/>
                <a:gd name="T88" fmla="*/ 2147483646 w 148"/>
                <a:gd name="T89" fmla="*/ 2147483646 h 107"/>
                <a:gd name="T90" fmla="*/ 2147483646 w 148"/>
                <a:gd name="T91" fmla="*/ 2147483646 h 10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48"/>
                <a:gd name="T139" fmla="*/ 0 h 107"/>
                <a:gd name="T140" fmla="*/ 148 w 148"/>
                <a:gd name="T141" fmla="*/ 107 h 10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48" h="107">
                  <a:moveTo>
                    <a:pt x="8" y="63"/>
                  </a:moveTo>
                  <a:lnTo>
                    <a:pt x="6" y="60"/>
                  </a:lnTo>
                  <a:lnTo>
                    <a:pt x="1" y="59"/>
                  </a:lnTo>
                  <a:lnTo>
                    <a:pt x="0" y="49"/>
                  </a:lnTo>
                  <a:lnTo>
                    <a:pt x="5" y="48"/>
                  </a:lnTo>
                  <a:lnTo>
                    <a:pt x="9" y="45"/>
                  </a:lnTo>
                  <a:lnTo>
                    <a:pt x="10" y="42"/>
                  </a:lnTo>
                  <a:lnTo>
                    <a:pt x="11" y="38"/>
                  </a:lnTo>
                  <a:lnTo>
                    <a:pt x="20" y="38"/>
                  </a:lnTo>
                  <a:lnTo>
                    <a:pt x="25" y="40"/>
                  </a:lnTo>
                  <a:lnTo>
                    <a:pt x="29" y="43"/>
                  </a:lnTo>
                  <a:lnTo>
                    <a:pt x="31" y="46"/>
                  </a:lnTo>
                  <a:lnTo>
                    <a:pt x="31" y="49"/>
                  </a:lnTo>
                  <a:lnTo>
                    <a:pt x="40" y="54"/>
                  </a:lnTo>
                  <a:lnTo>
                    <a:pt x="43" y="54"/>
                  </a:lnTo>
                  <a:lnTo>
                    <a:pt x="44" y="56"/>
                  </a:lnTo>
                  <a:lnTo>
                    <a:pt x="43" y="58"/>
                  </a:lnTo>
                  <a:lnTo>
                    <a:pt x="38" y="59"/>
                  </a:lnTo>
                  <a:lnTo>
                    <a:pt x="37" y="63"/>
                  </a:lnTo>
                  <a:lnTo>
                    <a:pt x="36" y="65"/>
                  </a:lnTo>
                  <a:lnTo>
                    <a:pt x="36" y="68"/>
                  </a:lnTo>
                  <a:lnTo>
                    <a:pt x="39" y="65"/>
                  </a:lnTo>
                  <a:lnTo>
                    <a:pt x="41" y="63"/>
                  </a:lnTo>
                  <a:lnTo>
                    <a:pt x="45" y="61"/>
                  </a:lnTo>
                  <a:lnTo>
                    <a:pt x="46" y="60"/>
                  </a:lnTo>
                  <a:lnTo>
                    <a:pt x="46" y="58"/>
                  </a:lnTo>
                  <a:lnTo>
                    <a:pt x="48" y="58"/>
                  </a:lnTo>
                  <a:lnTo>
                    <a:pt x="71" y="71"/>
                  </a:lnTo>
                  <a:lnTo>
                    <a:pt x="77" y="71"/>
                  </a:lnTo>
                  <a:lnTo>
                    <a:pt x="78" y="67"/>
                  </a:lnTo>
                  <a:lnTo>
                    <a:pt x="79" y="65"/>
                  </a:lnTo>
                  <a:lnTo>
                    <a:pt x="81" y="67"/>
                  </a:lnTo>
                  <a:lnTo>
                    <a:pt x="83" y="68"/>
                  </a:lnTo>
                  <a:lnTo>
                    <a:pt x="83" y="65"/>
                  </a:lnTo>
                  <a:lnTo>
                    <a:pt x="87" y="67"/>
                  </a:lnTo>
                  <a:lnTo>
                    <a:pt x="89" y="65"/>
                  </a:lnTo>
                  <a:lnTo>
                    <a:pt x="87" y="63"/>
                  </a:lnTo>
                  <a:lnTo>
                    <a:pt x="87" y="61"/>
                  </a:lnTo>
                  <a:lnTo>
                    <a:pt x="90" y="60"/>
                  </a:lnTo>
                  <a:lnTo>
                    <a:pt x="91" y="63"/>
                  </a:lnTo>
                  <a:lnTo>
                    <a:pt x="94" y="61"/>
                  </a:lnTo>
                  <a:lnTo>
                    <a:pt x="92" y="58"/>
                  </a:lnTo>
                  <a:lnTo>
                    <a:pt x="93" y="56"/>
                  </a:lnTo>
                  <a:lnTo>
                    <a:pt x="92" y="51"/>
                  </a:lnTo>
                  <a:lnTo>
                    <a:pt x="90" y="47"/>
                  </a:lnTo>
                  <a:lnTo>
                    <a:pt x="87" y="44"/>
                  </a:lnTo>
                  <a:lnTo>
                    <a:pt x="86" y="40"/>
                  </a:lnTo>
                  <a:lnTo>
                    <a:pt x="84" y="36"/>
                  </a:lnTo>
                  <a:lnTo>
                    <a:pt x="82" y="34"/>
                  </a:lnTo>
                  <a:lnTo>
                    <a:pt x="81" y="31"/>
                  </a:lnTo>
                  <a:lnTo>
                    <a:pt x="79" y="29"/>
                  </a:lnTo>
                  <a:lnTo>
                    <a:pt x="78" y="25"/>
                  </a:lnTo>
                  <a:lnTo>
                    <a:pt x="79" y="22"/>
                  </a:lnTo>
                  <a:lnTo>
                    <a:pt x="81" y="18"/>
                  </a:lnTo>
                  <a:lnTo>
                    <a:pt x="84" y="15"/>
                  </a:lnTo>
                  <a:lnTo>
                    <a:pt x="87" y="12"/>
                  </a:lnTo>
                  <a:lnTo>
                    <a:pt x="90" y="11"/>
                  </a:lnTo>
                  <a:lnTo>
                    <a:pt x="93" y="10"/>
                  </a:lnTo>
                  <a:lnTo>
                    <a:pt x="103" y="0"/>
                  </a:lnTo>
                  <a:lnTo>
                    <a:pt x="122" y="25"/>
                  </a:lnTo>
                  <a:lnTo>
                    <a:pt x="136" y="36"/>
                  </a:lnTo>
                  <a:lnTo>
                    <a:pt x="148" y="37"/>
                  </a:lnTo>
                  <a:lnTo>
                    <a:pt x="136" y="36"/>
                  </a:lnTo>
                  <a:lnTo>
                    <a:pt x="133" y="47"/>
                  </a:lnTo>
                  <a:lnTo>
                    <a:pt x="129" y="49"/>
                  </a:lnTo>
                  <a:lnTo>
                    <a:pt x="126" y="53"/>
                  </a:lnTo>
                  <a:lnTo>
                    <a:pt x="128" y="58"/>
                  </a:lnTo>
                  <a:lnTo>
                    <a:pt x="121" y="67"/>
                  </a:lnTo>
                  <a:lnTo>
                    <a:pt x="120" y="73"/>
                  </a:lnTo>
                  <a:lnTo>
                    <a:pt x="115" y="72"/>
                  </a:lnTo>
                  <a:lnTo>
                    <a:pt x="115" y="81"/>
                  </a:lnTo>
                  <a:lnTo>
                    <a:pt x="98" y="79"/>
                  </a:lnTo>
                  <a:lnTo>
                    <a:pt x="95" y="83"/>
                  </a:lnTo>
                  <a:lnTo>
                    <a:pt x="93" y="91"/>
                  </a:lnTo>
                  <a:lnTo>
                    <a:pt x="90" y="92"/>
                  </a:lnTo>
                  <a:lnTo>
                    <a:pt x="86" y="107"/>
                  </a:lnTo>
                  <a:lnTo>
                    <a:pt x="82" y="107"/>
                  </a:lnTo>
                  <a:lnTo>
                    <a:pt x="79" y="103"/>
                  </a:lnTo>
                  <a:lnTo>
                    <a:pt x="73" y="101"/>
                  </a:lnTo>
                  <a:lnTo>
                    <a:pt x="73" y="97"/>
                  </a:lnTo>
                  <a:lnTo>
                    <a:pt x="68" y="98"/>
                  </a:lnTo>
                  <a:lnTo>
                    <a:pt x="65" y="104"/>
                  </a:lnTo>
                  <a:lnTo>
                    <a:pt x="62" y="101"/>
                  </a:lnTo>
                  <a:lnTo>
                    <a:pt x="59" y="98"/>
                  </a:lnTo>
                  <a:lnTo>
                    <a:pt x="61" y="94"/>
                  </a:lnTo>
                  <a:lnTo>
                    <a:pt x="62" y="90"/>
                  </a:lnTo>
                  <a:lnTo>
                    <a:pt x="61" y="87"/>
                  </a:lnTo>
                  <a:lnTo>
                    <a:pt x="55" y="85"/>
                  </a:lnTo>
                  <a:lnTo>
                    <a:pt x="50" y="84"/>
                  </a:lnTo>
                  <a:lnTo>
                    <a:pt x="44" y="79"/>
                  </a:lnTo>
                  <a:lnTo>
                    <a:pt x="44" y="76"/>
                  </a:lnTo>
                  <a:lnTo>
                    <a:pt x="18" y="64"/>
                  </a:lnTo>
                  <a:lnTo>
                    <a:pt x="8" y="63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49" name="Freeform 17">
              <a:extLst>
                <a:ext uri="{FF2B5EF4-FFF2-40B4-BE49-F238E27FC236}">
                  <a16:creationId xmlns:a16="http://schemas.microsoft.com/office/drawing/2014/main" id="{8BC48942-9876-46A5-8A60-165A7CB03E50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1301750" y="2595563"/>
              <a:ext cx="601663" cy="736600"/>
            </a:xfrm>
            <a:custGeom>
              <a:avLst/>
              <a:gdLst>
                <a:gd name="T0" fmla="*/ 2147483646 w 73"/>
                <a:gd name="T1" fmla="*/ 2147483646 h 93"/>
                <a:gd name="T2" fmla="*/ 2147483646 w 73"/>
                <a:gd name="T3" fmla="*/ 2147483646 h 93"/>
                <a:gd name="T4" fmla="*/ 2147483646 w 73"/>
                <a:gd name="T5" fmla="*/ 2147483646 h 93"/>
                <a:gd name="T6" fmla="*/ 2147483646 w 73"/>
                <a:gd name="T7" fmla="*/ 2147483646 h 93"/>
                <a:gd name="T8" fmla="*/ 2147483646 w 73"/>
                <a:gd name="T9" fmla="*/ 2147483646 h 93"/>
                <a:gd name="T10" fmla="*/ 2147483646 w 73"/>
                <a:gd name="T11" fmla="*/ 2147483646 h 93"/>
                <a:gd name="T12" fmla="*/ 0 w 73"/>
                <a:gd name="T13" fmla="*/ 2147483646 h 93"/>
                <a:gd name="T14" fmla="*/ 2147483646 w 73"/>
                <a:gd name="T15" fmla="*/ 2147483646 h 93"/>
                <a:gd name="T16" fmla="*/ 2147483646 w 73"/>
                <a:gd name="T17" fmla="*/ 2147483646 h 93"/>
                <a:gd name="T18" fmla="*/ 2147483646 w 73"/>
                <a:gd name="T19" fmla="*/ 2147483646 h 93"/>
                <a:gd name="T20" fmla="*/ 2147483646 w 73"/>
                <a:gd name="T21" fmla="*/ 2147483646 h 93"/>
                <a:gd name="T22" fmla="*/ 2147483646 w 73"/>
                <a:gd name="T23" fmla="*/ 2147483646 h 93"/>
                <a:gd name="T24" fmla="*/ 2147483646 w 73"/>
                <a:gd name="T25" fmla="*/ 2147483646 h 93"/>
                <a:gd name="T26" fmla="*/ 2147483646 w 73"/>
                <a:gd name="T27" fmla="*/ 2147483646 h 93"/>
                <a:gd name="T28" fmla="*/ 2147483646 w 73"/>
                <a:gd name="T29" fmla="*/ 2147483646 h 93"/>
                <a:gd name="T30" fmla="*/ 2147483646 w 73"/>
                <a:gd name="T31" fmla="*/ 2147483646 h 93"/>
                <a:gd name="T32" fmla="*/ 2147483646 w 73"/>
                <a:gd name="T33" fmla="*/ 2147483646 h 93"/>
                <a:gd name="T34" fmla="*/ 2147483646 w 73"/>
                <a:gd name="T35" fmla="*/ 2147483646 h 93"/>
                <a:gd name="T36" fmla="*/ 2147483646 w 73"/>
                <a:gd name="T37" fmla="*/ 2147483646 h 93"/>
                <a:gd name="T38" fmla="*/ 2147483646 w 73"/>
                <a:gd name="T39" fmla="*/ 2147483646 h 93"/>
                <a:gd name="T40" fmla="*/ 2147483646 w 73"/>
                <a:gd name="T41" fmla="*/ 2147483646 h 93"/>
                <a:gd name="T42" fmla="*/ 2147483646 w 73"/>
                <a:gd name="T43" fmla="*/ 2147483646 h 93"/>
                <a:gd name="T44" fmla="*/ 2147483646 w 73"/>
                <a:gd name="T45" fmla="*/ 2147483646 h 93"/>
                <a:gd name="T46" fmla="*/ 2147483646 w 73"/>
                <a:gd name="T47" fmla="*/ 2147483646 h 93"/>
                <a:gd name="T48" fmla="*/ 2147483646 w 73"/>
                <a:gd name="T49" fmla="*/ 2147483646 h 93"/>
                <a:gd name="T50" fmla="*/ 2147483646 w 73"/>
                <a:gd name="T51" fmla="*/ 2147483646 h 93"/>
                <a:gd name="T52" fmla="*/ 2147483646 w 73"/>
                <a:gd name="T53" fmla="*/ 2147483646 h 93"/>
                <a:gd name="T54" fmla="*/ 2147483646 w 73"/>
                <a:gd name="T55" fmla="*/ 2147483646 h 93"/>
                <a:gd name="T56" fmla="*/ 2147483646 w 73"/>
                <a:gd name="T57" fmla="*/ 2147483646 h 93"/>
                <a:gd name="T58" fmla="*/ 2147483646 w 73"/>
                <a:gd name="T59" fmla="*/ 2147483646 h 93"/>
                <a:gd name="T60" fmla="*/ 2147483646 w 73"/>
                <a:gd name="T61" fmla="*/ 2147483646 h 93"/>
                <a:gd name="T62" fmla="*/ 2147483646 w 73"/>
                <a:gd name="T63" fmla="*/ 2147483646 h 93"/>
                <a:gd name="T64" fmla="*/ 2147483646 w 73"/>
                <a:gd name="T65" fmla="*/ 2147483646 h 93"/>
                <a:gd name="T66" fmla="*/ 2147483646 w 73"/>
                <a:gd name="T67" fmla="*/ 0 h 93"/>
                <a:gd name="T68" fmla="*/ 2147483646 w 73"/>
                <a:gd name="T69" fmla="*/ 2147483646 h 93"/>
                <a:gd name="T70" fmla="*/ 2147483646 w 73"/>
                <a:gd name="T71" fmla="*/ 2147483646 h 93"/>
                <a:gd name="T72" fmla="*/ 2147483646 w 73"/>
                <a:gd name="T73" fmla="*/ 2147483646 h 93"/>
                <a:gd name="T74" fmla="*/ 2147483646 w 73"/>
                <a:gd name="T75" fmla="*/ 2147483646 h 93"/>
                <a:gd name="T76" fmla="*/ 2147483646 w 73"/>
                <a:gd name="T77" fmla="*/ 2147483646 h 9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73"/>
                <a:gd name="T118" fmla="*/ 0 h 93"/>
                <a:gd name="T119" fmla="*/ 73 w 73"/>
                <a:gd name="T120" fmla="*/ 93 h 9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73" h="93">
                  <a:moveTo>
                    <a:pt x="4" y="19"/>
                  </a:moveTo>
                  <a:lnTo>
                    <a:pt x="13" y="23"/>
                  </a:lnTo>
                  <a:lnTo>
                    <a:pt x="8" y="44"/>
                  </a:lnTo>
                  <a:lnTo>
                    <a:pt x="7" y="52"/>
                  </a:lnTo>
                  <a:lnTo>
                    <a:pt x="6" y="61"/>
                  </a:lnTo>
                  <a:lnTo>
                    <a:pt x="4" y="66"/>
                  </a:lnTo>
                  <a:lnTo>
                    <a:pt x="0" y="73"/>
                  </a:lnTo>
                  <a:lnTo>
                    <a:pt x="1" y="77"/>
                  </a:lnTo>
                  <a:lnTo>
                    <a:pt x="9" y="81"/>
                  </a:lnTo>
                  <a:lnTo>
                    <a:pt x="13" y="81"/>
                  </a:lnTo>
                  <a:lnTo>
                    <a:pt x="15" y="85"/>
                  </a:lnTo>
                  <a:lnTo>
                    <a:pt x="16" y="90"/>
                  </a:lnTo>
                  <a:lnTo>
                    <a:pt x="21" y="93"/>
                  </a:lnTo>
                  <a:lnTo>
                    <a:pt x="24" y="85"/>
                  </a:lnTo>
                  <a:lnTo>
                    <a:pt x="29" y="78"/>
                  </a:lnTo>
                  <a:lnTo>
                    <a:pt x="29" y="74"/>
                  </a:lnTo>
                  <a:lnTo>
                    <a:pt x="33" y="72"/>
                  </a:lnTo>
                  <a:lnTo>
                    <a:pt x="38" y="72"/>
                  </a:lnTo>
                  <a:lnTo>
                    <a:pt x="46" y="57"/>
                  </a:lnTo>
                  <a:lnTo>
                    <a:pt x="50" y="57"/>
                  </a:lnTo>
                  <a:lnTo>
                    <a:pt x="54" y="60"/>
                  </a:lnTo>
                  <a:lnTo>
                    <a:pt x="57" y="60"/>
                  </a:lnTo>
                  <a:lnTo>
                    <a:pt x="59" y="55"/>
                  </a:lnTo>
                  <a:lnTo>
                    <a:pt x="64" y="55"/>
                  </a:lnTo>
                  <a:lnTo>
                    <a:pt x="63" y="47"/>
                  </a:lnTo>
                  <a:lnTo>
                    <a:pt x="66" y="41"/>
                  </a:lnTo>
                  <a:lnTo>
                    <a:pt x="64" y="35"/>
                  </a:lnTo>
                  <a:lnTo>
                    <a:pt x="70" y="27"/>
                  </a:lnTo>
                  <a:lnTo>
                    <a:pt x="73" y="22"/>
                  </a:lnTo>
                  <a:lnTo>
                    <a:pt x="71" y="19"/>
                  </a:lnTo>
                  <a:lnTo>
                    <a:pt x="66" y="13"/>
                  </a:lnTo>
                  <a:lnTo>
                    <a:pt x="57" y="9"/>
                  </a:lnTo>
                  <a:lnTo>
                    <a:pt x="32" y="1"/>
                  </a:lnTo>
                  <a:lnTo>
                    <a:pt x="27" y="0"/>
                  </a:lnTo>
                  <a:lnTo>
                    <a:pt x="27" y="9"/>
                  </a:lnTo>
                  <a:lnTo>
                    <a:pt x="10" y="7"/>
                  </a:lnTo>
                  <a:lnTo>
                    <a:pt x="7" y="11"/>
                  </a:lnTo>
                  <a:lnTo>
                    <a:pt x="5" y="19"/>
                  </a:lnTo>
                  <a:lnTo>
                    <a:pt x="4" y="19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50" name="Freeform 18">
              <a:extLst>
                <a:ext uri="{FF2B5EF4-FFF2-40B4-BE49-F238E27FC236}">
                  <a16:creationId xmlns:a16="http://schemas.microsoft.com/office/drawing/2014/main" id="{BCA7DA23-7970-4E50-9E6B-31D230E4CB43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679450" y="3603625"/>
              <a:ext cx="404813" cy="603250"/>
            </a:xfrm>
            <a:custGeom>
              <a:avLst/>
              <a:gdLst>
                <a:gd name="T0" fmla="*/ 2147483646 w 49"/>
                <a:gd name="T1" fmla="*/ 2147483646 h 76"/>
                <a:gd name="T2" fmla="*/ 2147483646 w 49"/>
                <a:gd name="T3" fmla="*/ 2147483646 h 76"/>
                <a:gd name="T4" fmla="*/ 2147483646 w 49"/>
                <a:gd name="T5" fmla="*/ 2147483646 h 76"/>
                <a:gd name="T6" fmla="*/ 2147483646 w 49"/>
                <a:gd name="T7" fmla="*/ 2147483646 h 76"/>
                <a:gd name="T8" fmla="*/ 2147483646 w 49"/>
                <a:gd name="T9" fmla="*/ 2147483646 h 76"/>
                <a:gd name="T10" fmla="*/ 2147483646 w 49"/>
                <a:gd name="T11" fmla="*/ 2147483646 h 76"/>
                <a:gd name="T12" fmla="*/ 2147483646 w 49"/>
                <a:gd name="T13" fmla="*/ 2147483646 h 76"/>
                <a:gd name="T14" fmla="*/ 2147483646 w 49"/>
                <a:gd name="T15" fmla="*/ 2147483646 h 76"/>
                <a:gd name="T16" fmla="*/ 2147483646 w 49"/>
                <a:gd name="T17" fmla="*/ 2147483646 h 76"/>
                <a:gd name="T18" fmla="*/ 2147483646 w 49"/>
                <a:gd name="T19" fmla="*/ 2147483646 h 76"/>
                <a:gd name="T20" fmla="*/ 2147483646 w 49"/>
                <a:gd name="T21" fmla="*/ 2147483646 h 76"/>
                <a:gd name="T22" fmla="*/ 0 w 49"/>
                <a:gd name="T23" fmla="*/ 2147483646 h 76"/>
                <a:gd name="T24" fmla="*/ 0 w 49"/>
                <a:gd name="T25" fmla="*/ 2147483646 h 76"/>
                <a:gd name="T26" fmla="*/ 2147483646 w 49"/>
                <a:gd name="T27" fmla="*/ 2147483646 h 76"/>
                <a:gd name="T28" fmla="*/ 2147483646 w 49"/>
                <a:gd name="T29" fmla="*/ 2147483646 h 76"/>
                <a:gd name="T30" fmla="*/ 2147483646 w 49"/>
                <a:gd name="T31" fmla="*/ 2147483646 h 76"/>
                <a:gd name="T32" fmla="*/ 2147483646 w 49"/>
                <a:gd name="T33" fmla="*/ 2147483646 h 76"/>
                <a:gd name="T34" fmla="*/ 2147483646 w 49"/>
                <a:gd name="T35" fmla="*/ 2147483646 h 76"/>
                <a:gd name="T36" fmla="*/ 2147483646 w 49"/>
                <a:gd name="T37" fmla="*/ 2147483646 h 76"/>
                <a:gd name="T38" fmla="*/ 2147483646 w 49"/>
                <a:gd name="T39" fmla="*/ 2147483646 h 76"/>
                <a:gd name="T40" fmla="*/ 2147483646 w 49"/>
                <a:gd name="T41" fmla="*/ 2147483646 h 76"/>
                <a:gd name="T42" fmla="*/ 2147483646 w 49"/>
                <a:gd name="T43" fmla="*/ 2147483646 h 76"/>
                <a:gd name="T44" fmla="*/ 2147483646 w 49"/>
                <a:gd name="T45" fmla="*/ 0 h 76"/>
                <a:gd name="T46" fmla="*/ 2147483646 w 49"/>
                <a:gd name="T47" fmla="*/ 0 h 76"/>
                <a:gd name="T48" fmla="*/ 2147483646 w 49"/>
                <a:gd name="T49" fmla="*/ 2147483646 h 76"/>
                <a:gd name="T50" fmla="*/ 2147483646 w 49"/>
                <a:gd name="T51" fmla="*/ 2147483646 h 76"/>
                <a:gd name="T52" fmla="*/ 2147483646 w 49"/>
                <a:gd name="T53" fmla="*/ 2147483646 h 76"/>
                <a:gd name="T54" fmla="*/ 2147483646 w 49"/>
                <a:gd name="T55" fmla="*/ 2147483646 h 76"/>
                <a:gd name="T56" fmla="*/ 2147483646 w 49"/>
                <a:gd name="T57" fmla="*/ 2147483646 h 76"/>
                <a:gd name="T58" fmla="*/ 2147483646 w 49"/>
                <a:gd name="T59" fmla="*/ 2147483646 h 76"/>
                <a:gd name="T60" fmla="*/ 2147483646 w 49"/>
                <a:gd name="T61" fmla="*/ 2147483646 h 76"/>
                <a:gd name="T62" fmla="*/ 2147483646 w 49"/>
                <a:gd name="T63" fmla="*/ 2147483646 h 76"/>
                <a:gd name="T64" fmla="*/ 2147483646 w 49"/>
                <a:gd name="T65" fmla="*/ 2147483646 h 76"/>
                <a:gd name="T66" fmla="*/ 2147483646 w 49"/>
                <a:gd name="T67" fmla="*/ 2147483646 h 76"/>
                <a:gd name="T68" fmla="*/ 2147483646 w 49"/>
                <a:gd name="T69" fmla="*/ 2147483646 h 76"/>
                <a:gd name="T70" fmla="*/ 2147483646 w 49"/>
                <a:gd name="T71" fmla="*/ 2147483646 h 76"/>
                <a:gd name="T72" fmla="*/ 2147483646 w 49"/>
                <a:gd name="T73" fmla="*/ 2147483646 h 76"/>
                <a:gd name="T74" fmla="*/ 2147483646 w 49"/>
                <a:gd name="T75" fmla="*/ 2147483646 h 76"/>
                <a:gd name="T76" fmla="*/ 2147483646 w 49"/>
                <a:gd name="T77" fmla="*/ 2147483646 h 76"/>
                <a:gd name="T78" fmla="*/ 2147483646 w 49"/>
                <a:gd name="T79" fmla="*/ 2147483646 h 7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9"/>
                <a:gd name="T121" fmla="*/ 0 h 76"/>
                <a:gd name="T122" fmla="*/ 49 w 49"/>
                <a:gd name="T123" fmla="*/ 76 h 7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9" h="76">
                  <a:moveTo>
                    <a:pt x="19" y="76"/>
                  </a:moveTo>
                  <a:lnTo>
                    <a:pt x="17" y="75"/>
                  </a:lnTo>
                  <a:lnTo>
                    <a:pt x="16" y="71"/>
                  </a:lnTo>
                  <a:lnTo>
                    <a:pt x="13" y="69"/>
                  </a:lnTo>
                  <a:lnTo>
                    <a:pt x="9" y="69"/>
                  </a:lnTo>
                  <a:lnTo>
                    <a:pt x="11" y="66"/>
                  </a:lnTo>
                  <a:lnTo>
                    <a:pt x="11" y="63"/>
                  </a:lnTo>
                  <a:lnTo>
                    <a:pt x="6" y="62"/>
                  </a:lnTo>
                  <a:lnTo>
                    <a:pt x="6" y="54"/>
                  </a:lnTo>
                  <a:lnTo>
                    <a:pt x="4" y="50"/>
                  </a:lnTo>
                  <a:lnTo>
                    <a:pt x="2" y="46"/>
                  </a:lnTo>
                  <a:lnTo>
                    <a:pt x="0" y="41"/>
                  </a:lnTo>
                  <a:lnTo>
                    <a:pt x="0" y="24"/>
                  </a:lnTo>
                  <a:lnTo>
                    <a:pt x="4" y="19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10" y="12"/>
                  </a:lnTo>
                  <a:lnTo>
                    <a:pt x="15" y="10"/>
                  </a:lnTo>
                  <a:lnTo>
                    <a:pt x="18" y="15"/>
                  </a:lnTo>
                  <a:lnTo>
                    <a:pt x="20" y="8"/>
                  </a:lnTo>
                  <a:lnTo>
                    <a:pt x="23" y="7"/>
                  </a:lnTo>
                  <a:lnTo>
                    <a:pt x="24" y="3"/>
                  </a:lnTo>
                  <a:lnTo>
                    <a:pt x="27" y="0"/>
                  </a:lnTo>
                  <a:lnTo>
                    <a:pt x="31" y="0"/>
                  </a:lnTo>
                  <a:lnTo>
                    <a:pt x="35" y="3"/>
                  </a:lnTo>
                  <a:lnTo>
                    <a:pt x="36" y="7"/>
                  </a:lnTo>
                  <a:lnTo>
                    <a:pt x="37" y="11"/>
                  </a:lnTo>
                  <a:lnTo>
                    <a:pt x="40" y="15"/>
                  </a:lnTo>
                  <a:lnTo>
                    <a:pt x="42" y="12"/>
                  </a:lnTo>
                  <a:lnTo>
                    <a:pt x="46" y="13"/>
                  </a:lnTo>
                  <a:lnTo>
                    <a:pt x="47" y="24"/>
                  </a:lnTo>
                  <a:lnTo>
                    <a:pt x="47" y="29"/>
                  </a:lnTo>
                  <a:lnTo>
                    <a:pt x="45" y="33"/>
                  </a:lnTo>
                  <a:lnTo>
                    <a:pt x="49" y="36"/>
                  </a:lnTo>
                  <a:lnTo>
                    <a:pt x="45" y="45"/>
                  </a:lnTo>
                  <a:lnTo>
                    <a:pt x="40" y="50"/>
                  </a:lnTo>
                  <a:lnTo>
                    <a:pt x="28" y="54"/>
                  </a:lnTo>
                  <a:lnTo>
                    <a:pt x="21" y="60"/>
                  </a:lnTo>
                  <a:lnTo>
                    <a:pt x="19" y="68"/>
                  </a:lnTo>
                  <a:lnTo>
                    <a:pt x="19" y="76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51" name="Freeform 19">
              <a:extLst>
                <a:ext uri="{FF2B5EF4-FFF2-40B4-BE49-F238E27FC236}">
                  <a16:creationId xmlns:a16="http://schemas.microsoft.com/office/drawing/2014/main" id="{961BCFBD-C1BF-4BAE-803F-7CF92AC16BEE}"/>
                </a:ext>
              </a:extLst>
            </p:cNvPr>
            <p:cNvSpPr>
              <a:spLocks noChangeAspect="1" noEditPoints="1"/>
            </p:cNvSpPr>
            <p:nvPr>
              <p:custDataLst>
                <p:tags r:id="rId13"/>
              </p:custDataLst>
            </p:nvPr>
          </p:nvSpPr>
          <p:spPr bwMode="auto">
            <a:xfrm>
              <a:off x="608013" y="2709863"/>
              <a:ext cx="893762" cy="1036637"/>
            </a:xfrm>
            <a:custGeom>
              <a:avLst/>
              <a:gdLst>
                <a:gd name="T0" fmla="*/ 2147483646 w 108"/>
                <a:gd name="T1" fmla="*/ 2147483646 h 131"/>
                <a:gd name="T2" fmla="*/ 2147483646 w 108"/>
                <a:gd name="T3" fmla="*/ 2147483646 h 131"/>
                <a:gd name="T4" fmla="*/ 2147483646 w 108"/>
                <a:gd name="T5" fmla="*/ 2147483646 h 131"/>
                <a:gd name="T6" fmla="*/ 2147483646 w 108"/>
                <a:gd name="T7" fmla="*/ 2147483646 h 131"/>
                <a:gd name="T8" fmla="*/ 2147483646 w 108"/>
                <a:gd name="T9" fmla="*/ 2147483646 h 131"/>
                <a:gd name="T10" fmla="*/ 2147483646 w 108"/>
                <a:gd name="T11" fmla="*/ 2147483646 h 131"/>
                <a:gd name="T12" fmla="*/ 2147483646 w 108"/>
                <a:gd name="T13" fmla="*/ 2147483646 h 131"/>
                <a:gd name="T14" fmla="*/ 2147483646 w 108"/>
                <a:gd name="T15" fmla="*/ 2147483646 h 131"/>
                <a:gd name="T16" fmla="*/ 2147483646 w 108"/>
                <a:gd name="T17" fmla="*/ 2147483646 h 131"/>
                <a:gd name="T18" fmla="*/ 2147483646 w 108"/>
                <a:gd name="T19" fmla="*/ 2147483646 h 131"/>
                <a:gd name="T20" fmla="*/ 2147483646 w 108"/>
                <a:gd name="T21" fmla="*/ 2147483646 h 131"/>
                <a:gd name="T22" fmla="*/ 2147483646 w 108"/>
                <a:gd name="T23" fmla="*/ 2147483646 h 131"/>
                <a:gd name="T24" fmla="*/ 2147483646 w 108"/>
                <a:gd name="T25" fmla="*/ 2147483646 h 131"/>
                <a:gd name="T26" fmla="*/ 2147483646 w 108"/>
                <a:gd name="T27" fmla="*/ 2147483646 h 131"/>
                <a:gd name="T28" fmla="*/ 2147483646 w 108"/>
                <a:gd name="T29" fmla="*/ 2147483646 h 131"/>
                <a:gd name="T30" fmla="*/ 2147483646 w 108"/>
                <a:gd name="T31" fmla="*/ 2147483646 h 131"/>
                <a:gd name="T32" fmla="*/ 2147483646 w 108"/>
                <a:gd name="T33" fmla="*/ 2147483646 h 131"/>
                <a:gd name="T34" fmla="*/ 2147483646 w 108"/>
                <a:gd name="T35" fmla="*/ 2147483646 h 131"/>
                <a:gd name="T36" fmla="*/ 2147483646 w 108"/>
                <a:gd name="T37" fmla="*/ 2147483646 h 131"/>
                <a:gd name="T38" fmla="*/ 2147483646 w 108"/>
                <a:gd name="T39" fmla="*/ 2147483646 h 131"/>
                <a:gd name="T40" fmla="*/ 2147483646 w 108"/>
                <a:gd name="T41" fmla="*/ 2147483646 h 131"/>
                <a:gd name="T42" fmla="*/ 2147483646 w 108"/>
                <a:gd name="T43" fmla="*/ 2147483646 h 131"/>
                <a:gd name="T44" fmla="*/ 2147483646 w 108"/>
                <a:gd name="T45" fmla="*/ 2147483646 h 131"/>
                <a:gd name="T46" fmla="*/ 2147483646 w 108"/>
                <a:gd name="T47" fmla="*/ 2147483646 h 131"/>
                <a:gd name="T48" fmla="*/ 2147483646 w 108"/>
                <a:gd name="T49" fmla="*/ 2147483646 h 131"/>
                <a:gd name="T50" fmla="*/ 2147483646 w 108"/>
                <a:gd name="T51" fmla="*/ 2147483646 h 131"/>
                <a:gd name="T52" fmla="*/ 2147483646 w 108"/>
                <a:gd name="T53" fmla="*/ 2147483646 h 131"/>
                <a:gd name="T54" fmla="*/ 2147483646 w 108"/>
                <a:gd name="T55" fmla="*/ 2147483646 h 131"/>
                <a:gd name="T56" fmla="*/ 2147483646 w 108"/>
                <a:gd name="T57" fmla="*/ 2147483646 h 131"/>
                <a:gd name="T58" fmla="*/ 2147483646 w 108"/>
                <a:gd name="T59" fmla="*/ 2147483646 h 131"/>
                <a:gd name="T60" fmla="*/ 2147483646 w 108"/>
                <a:gd name="T61" fmla="*/ 2147483646 h 131"/>
                <a:gd name="T62" fmla="*/ 2147483646 w 108"/>
                <a:gd name="T63" fmla="*/ 2147483646 h 131"/>
                <a:gd name="T64" fmla="*/ 2147483646 w 108"/>
                <a:gd name="T65" fmla="*/ 2147483646 h 131"/>
                <a:gd name="T66" fmla="*/ 2147483646 w 108"/>
                <a:gd name="T67" fmla="*/ 2147483646 h 131"/>
                <a:gd name="T68" fmla="*/ 2147483646 w 108"/>
                <a:gd name="T69" fmla="*/ 2147483646 h 131"/>
                <a:gd name="T70" fmla="*/ 2147483646 w 108"/>
                <a:gd name="T71" fmla="*/ 2147483646 h 131"/>
                <a:gd name="T72" fmla="*/ 2147483646 w 108"/>
                <a:gd name="T73" fmla="*/ 2147483646 h 131"/>
                <a:gd name="T74" fmla="*/ 2147483646 w 108"/>
                <a:gd name="T75" fmla="*/ 2147483646 h 131"/>
                <a:gd name="T76" fmla="*/ 2147483646 w 108"/>
                <a:gd name="T77" fmla="*/ 2147483646 h 131"/>
                <a:gd name="T78" fmla="*/ 2147483646 w 108"/>
                <a:gd name="T79" fmla="*/ 2147483646 h 131"/>
                <a:gd name="T80" fmla="*/ 2147483646 w 108"/>
                <a:gd name="T81" fmla="*/ 2147483646 h 131"/>
                <a:gd name="T82" fmla="*/ 2147483646 w 108"/>
                <a:gd name="T83" fmla="*/ 2147483646 h 131"/>
                <a:gd name="T84" fmla="*/ 2147483646 w 108"/>
                <a:gd name="T85" fmla="*/ 2147483646 h 131"/>
                <a:gd name="T86" fmla="*/ 2147483646 w 108"/>
                <a:gd name="T87" fmla="*/ 2147483646 h 131"/>
                <a:gd name="T88" fmla="*/ 2147483646 w 108"/>
                <a:gd name="T89" fmla="*/ 2147483646 h 131"/>
                <a:gd name="T90" fmla="*/ 2147483646 w 108"/>
                <a:gd name="T91" fmla="*/ 2147483646 h 13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8"/>
                <a:gd name="T139" fmla="*/ 0 h 131"/>
                <a:gd name="T140" fmla="*/ 108 w 108"/>
                <a:gd name="T141" fmla="*/ 131 h 13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8" h="131">
                  <a:moveTo>
                    <a:pt x="12" y="126"/>
                  </a:moveTo>
                  <a:lnTo>
                    <a:pt x="12" y="125"/>
                  </a:lnTo>
                  <a:lnTo>
                    <a:pt x="12" y="120"/>
                  </a:lnTo>
                  <a:lnTo>
                    <a:pt x="10" y="119"/>
                  </a:lnTo>
                  <a:lnTo>
                    <a:pt x="10" y="113"/>
                  </a:lnTo>
                  <a:lnTo>
                    <a:pt x="7" y="108"/>
                  </a:lnTo>
                  <a:lnTo>
                    <a:pt x="4" y="108"/>
                  </a:lnTo>
                  <a:lnTo>
                    <a:pt x="3" y="105"/>
                  </a:lnTo>
                  <a:lnTo>
                    <a:pt x="3" y="103"/>
                  </a:lnTo>
                  <a:lnTo>
                    <a:pt x="5" y="103"/>
                  </a:lnTo>
                  <a:lnTo>
                    <a:pt x="7" y="86"/>
                  </a:lnTo>
                  <a:lnTo>
                    <a:pt x="4" y="82"/>
                  </a:lnTo>
                  <a:lnTo>
                    <a:pt x="0" y="82"/>
                  </a:lnTo>
                  <a:lnTo>
                    <a:pt x="1" y="78"/>
                  </a:lnTo>
                  <a:lnTo>
                    <a:pt x="4" y="73"/>
                  </a:lnTo>
                  <a:lnTo>
                    <a:pt x="22" y="76"/>
                  </a:lnTo>
                  <a:lnTo>
                    <a:pt x="28" y="70"/>
                  </a:lnTo>
                  <a:lnTo>
                    <a:pt x="31" y="69"/>
                  </a:lnTo>
                  <a:lnTo>
                    <a:pt x="37" y="70"/>
                  </a:lnTo>
                  <a:lnTo>
                    <a:pt x="39" y="76"/>
                  </a:lnTo>
                  <a:lnTo>
                    <a:pt x="44" y="80"/>
                  </a:lnTo>
                  <a:lnTo>
                    <a:pt x="51" y="81"/>
                  </a:lnTo>
                  <a:lnTo>
                    <a:pt x="56" y="73"/>
                  </a:lnTo>
                  <a:lnTo>
                    <a:pt x="57" y="61"/>
                  </a:lnTo>
                  <a:lnTo>
                    <a:pt x="54" y="60"/>
                  </a:lnTo>
                  <a:lnTo>
                    <a:pt x="55" y="54"/>
                  </a:lnTo>
                  <a:lnTo>
                    <a:pt x="58" y="56"/>
                  </a:lnTo>
                  <a:lnTo>
                    <a:pt x="58" y="48"/>
                  </a:lnTo>
                  <a:lnTo>
                    <a:pt x="60" y="42"/>
                  </a:lnTo>
                  <a:lnTo>
                    <a:pt x="62" y="35"/>
                  </a:lnTo>
                  <a:lnTo>
                    <a:pt x="68" y="29"/>
                  </a:lnTo>
                  <a:lnTo>
                    <a:pt x="72" y="29"/>
                  </a:lnTo>
                  <a:lnTo>
                    <a:pt x="76" y="19"/>
                  </a:lnTo>
                  <a:lnTo>
                    <a:pt x="77" y="20"/>
                  </a:lnTo>
                  <a:lnTo>
                    <a:pt x="81" y="20"/>
                  </a:lnTo>
                  <a:lnTo>
                    <a:pt x="85" y="5"/>
                  </a:lnTo>
                  <a:lnTo>
                    <a:pt x="87" y="4"/>
                  </a:lnTo>
                  <a:lnTo>
                    <a:pt x="96" y="8"/>
                  </a:lnTo>
                  <a:lnTo>
                    <a:pt x="91" y="29"/>
                  </a:lnTo>
                  <a:lnTo>
                    <a:pt x="90" y="37"/>
                  </a:lnTo>
                  <a:lnTo>
                    <a:pt x="89" y="46"/>
                  </a:lnTo>
                  <a:lnTo>
                    <a:pt x="87" y="51"/>
                  </a:lnTo>
                  <a:lnTo>
                    <a:pt x="83" y="58"/>
                  </a:lnTo>
                  <a:lnTo>
                    <a:pt x="84" y="62"/>
                  </a:lnTo>
                  <a:lnTo>
                    <a:pt x="92" y="66"/>
                  </a:lnTo>
                  <a:lnTo>
                    <a:pt x="96" y="66"/>
                  </a:lnTo>
                  <a:lnTo>
                    <a:pt x="98" y="70"/>
                  </a:lnTo>
                  <a:lnTo>
                    <a:pt x="99" y="75"/>
                  </a:lnTo>
                  <a:lnTo>
                    <a:pt x="104" y="78"/>
                  </a:lnTo>
                  <a:lnTo>
                    <a:pt x="104" y="84"/>
                  </a:lnTo>
                  <a:lnTo>
                    <a:pt x="108" y="86"/>
                  </a:lnTo>
                  <a:lnTo>
                    <a:pt x="107" y="90"/>
                  </a:lnTo>
                  <a:lnTo>
                    <a:pt x="101" y="96"/>
                  </a:lnTo>
                  <a:lnTo>
                    <a:pt x="96" y="101"/>
                  </a:lnTo>
                  <a:lnTo>
                    <a:pt x="94" y="106"/>
                  </a:lnTo>
                  <a:lnTo>
                    <a:pt x="96" y="111"/>
                  </a:lnTo>
                  <a:lnTo>
                    <a:pt x="94" y="115"/>
                  </a:lnTo>
                  <a:lnTo>
                    <a:pt x="96" y="120"/>
                  </a:lnTo>
                  <a:lnTo>
                    <a:pt x="93" y="122"/>
                  </a:lnTo>
                  <a:lnTo>
                    <a:pt x="89" y="119"/>
                  </a:lnTo>
                  <a:lnTo>
                    <a:pt x="90" y="116"/>
                  </a:lnTo>
                  <a:lnTo>
                    <a:pt x="90" y="111"/>
                  </a:lnTo>
                  <a:lnTo>
                    <a:pt x="89" y="106"/>
                  </a:lnTo>
                  <a:lnTo>
                    <a:pt x="87" y="101"/>
                  </a:lnTo>
                  <a:lnTo>
                    <a:pt x="84" y="98"/>
                  </a:lnTo>
                  <a:lnTo>
                    <a:pt x="71" y="98"/>
                  </a:lnTo>
                  <a:lnTo>
                    <a:pt x="66" y="96"/>
                  </a:lnTo>
                  <a:lnTo>
                    <a:pt x="65" y="100"/>
                  </a:lnTo>
                  <a:lnTo>
                    <a:pt x="62" y="100"/>
                  </a:lnTo>
                  <a:lnTo>
                    <a:pt x="62" y="103"/>
                  </a:lnTo>
                  <a:lnTo>
                    <a:pt x="66" y="107"/>
                  </a:lnTo>
                  <a:lnTo>
                    <a:pt x="61" y="118"/>
                  </a:lnTo>
                  <a:lnTo>
                    <a:pt x="58" y="118"/>
                  </a:lnTo>
                  <a:lnTo>
                    <a:pt x="58" y="122"/>
                  </a:lnTo>
                  <a:lnTo>
                    <a:pt x="55" y="124"/>
                  </a:lnTo>
                  <a:lnTo>
                    <a:pt x="52" y="129"/>
                  </a:lnTo>
                  <a:lnTo>
                    <a:pt x="48" y="128"/>
                  </a:lnTo>
                  <a:lnTo>
                    <a:pt x="46" y="131"/>
                  </a:lnTo>
                  <a:lnTo>
                    <a:pt x="43" y="127"/>
                  </a:lnTo>
                  <a:lnTo>
                    <a:pt x="42" y="123"/>
                  </a:lnTo>
                  <a:lnTo>
                    <a:pt x="41" y="119"/>
                  </a:lnTo>
                  <a:lnTo>
                    <a:pt x="37" y="116"/>
                  </a:lnTo>
                  <a:lnTo>
                    <a:pt x="33" y="116"/>
                  </a:lnTo>
                  <a:lnTo>
                    <a:pt x="30" y="119"/>
                  </a:lnTo>
                  <a:lnTo>
                    <a:pt x="29" y="123"/>
                  </a:lnTo>
                  <a:lnTo>
                    <a:pt x="26" y="124"/>
                  </a:lnTo>
                  <a:lnTo>
                    <a:pt x="24" y="131"/>
                  </a:lnTo>
                  <a:lnTo>
                    <a:pt x="21" y="126"/>
                  </a:lnTo>
                  <a:lnTo>
                    <a:pt x="16" y="128"/>
                  </a:lnTo>
                  <a:lnTo>
                    <a:pt x="12" y="126"/>
                  </a:lnTo>
                  <a:close/>
                  <a:moveTo>
                    <a:pt x="88" y="4"/>
                  </a:moveTo>
                  <a:cubicBezTo>
                    <a:pt x="89" y="0"/>
                    <a:pt x="89" y="0"/>
                    <a:pt x="88" y="4"/>
                  </a:cubicBez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52" name="Freeform 20">
              <a:extLst>
                <a:ext uri="{FF2B5EF4-FFF2-40B4-BE49-F238E27FC236}">
                  <a16:creationId xmlns:a16="http://schemas.microsoft.com/office/drawing/2014/main" id="{C7B72539-2652-426E-96BC-DC1AA66D3363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1471613" y="3027363"/>
              <a:ext cx="669925" cy="515937"/>
            </a:xfrm>
            <a:custGeom>
              <a:avLst/>
              <a:gdLst>
                <a:gd name="T0" fmla="*/ 0 w 81"/>
                <a:gd name="T1" fmla="*/ 2147483646 h 65"/>
                <a:gd name="T2" fmla="*/ 0 w 81"/>
                <a:gd name="T3" fmla="*/ 2147483646 h 65"/>
                <a:gd name="T4" fmla="*/ 2147483646 w 81"/>
                <a:gd name="T5" fmla="*/ 2147483646 h 65"/>
                <a:gd name="T6" fmla="*/ 2147483646 w 81"/>
                <a:gd name="T7" fmla="*/ 2147483646 h 65"/>
                <a:gd name="T8" fmla="*/ 2147483646 w 81"/>
                <a:gd name="T9" fmla="*/ 2147483646 h 65"/>
                <a:gd name="T10" fmla="*/ 2147483646 w 81"/>
                <a:gd name="T11" fmla="*/ 2147483646 h 65"/>
                <a:gd name="T12" fmla="*/ 2147483646 w 81"/>
                <a:gd name="T13" fmla="*/ 2147483646 h 65"/>
                <a:gd name="T14" fmla="*/ 2147483646 w 81"/>
                <a:gd name="T15" fmla="*/ 2147483646 h 65"/>
                <a:gd name="T16" fmla="*/ 2147483646 w 81"/>
                <a:gd name="T17" fmla="*/ 2147483646 h 65"/>
                <a:gd name="T18" fmla="*/ 2147483646 w 81"/>
                <a:gd name="T19" fmla="*/ 2147483646 h 65"/>
                <a:gd name="T20" fmla="*/ 2147483646 w 81"/>
                <a:gd name="T21" fmla="*/ 2147483646 h 65"/>
                <a:gd name="T22" fmla="*/ 2147483646 w 81"/>
                <a:gd name="T23" fmla="*/ 2147483646 h 65"/>
                <a:gd name="T24" fmla="*/ 2147483646 w 81"/>
                <a:gd name="T25" fmla="*/ 2147483646 h 65"/>
                <a:gd name="T26" fmla="*/ 2147483646 w 81"/>
                <a:gd name="T27" fmla="*/ 2147483646 h 65"/>
                <a:gd name="T28" fmla="*/ 2147483646 w 81"/>
                <a:gd name="T29" fmla="*/ 2147483646 h 65"/>
                <a:gd name="T30" fmla="*/ 2147483646 w 81"/>
                <a:gd name="T31" fmla="*/ 2147483646 h 65"/>
                <a:gd name="T32" fmla="*/ 2147483646 w 81"/>
                <a:gd name="T33" fmla="*/ 2147483646 h 65"/>
                <a:gd name="T34" fmla="*/ 2147483646 w 81"/>
                <a:gd name="T35" fmla="*/ 2147483646 h 65"/>
                <a:gd name="T36" fmla="*/ 2147483646 w 81"/>
                <a:gd name="T37" fmla="*/ 2147483646 h 65"/>
                <a:gd name="T38" fmla="*/ 2147483646 w 81"/>
                <a:gd name="T39" fmla="*/ 2147483646 h 65"/>
                <a:gd name="T40" fmla="*/ 2147483646 w 81"/>
                <a:gd name="T41" fmla="*/ 2147483646 h 65"/>
                <a:gd name="T42" fmla="*/ 2147483646 w 81"/>
                <a:gd name="T43" fmla="*/ 2147483646 h 65"/>
                <a:gd name="T44" fmla="*/ 2147483646 w 81"/>
                <a:gd name="T45" fmla="*/ 2147483646 h 65"/>
                <a:gd name="T46" fmla="*/ 2147483646 w 81"/>
                <a:gd name="T47" fmla="*/ 2147483646 h 65"/>
                <a:gd name="T48" fmla="*/ 2147483646 w 81"/>
                <a:gd name="T49" fmla="*/ 2147483646 h 65"/>
                <a:gd name="T50" fmla="*/ 2147483646 w 81"/>
                <a:gd name="T51" fmla="*/ 2147483646 h 65"/>
                <a:gd name="T52" fmla="*/ 2147483646 w 81"/>
                <a:gd name="T53" fmla="*/ 2147483646 h 65"/>
                <a:gd name="T54" fmla="*/ 2147483646 w 81"/>
                <a:gd name="T55" fmla="*/ 2147483646 h 65"/>
                <a:gd name="T56" fmla="*/ 2147483646 w 81"/>
                <a:gd name="T57" fmla="*/ 2147483646 h 65"/>
                <a:gd name="T58" fmla="*/ 2147483646 w 81"/>
                <a:gd name="T59" fmla="*/ 2147483646 h 65"/>
                <a:gd name="T60" fmla="*/ 2147483646 w 81"/>
                <a:gd name="T61" fmla="*/ 2147483646 h 65"/>
                <a:gd name="T62" fmla="*/ 2147483646 w 81"/>
                <a:gd name="T63" fmla="*/ 2147483646 h 65"/>
                <a:gd name="T64" fmla="*/ 2147483646 w 81"/>
                <a:gd name="T65" fmla="*/ 2147483646 h 65"/>
                <a:gd name="T66" fmla="*/ 2147483646 w 81"/>
                <a:gd name="T67" fmla="*/ 0 h 65"/>
                <a:gd name="T68" fmla="*/ 2147483646 w 81"/>
                <a:gd name="T69" fmla="*/ 0 h 65"/>
                <a:gd name="T70" fmla="*/ 2147483646 w 81"/>
                <a:gd name="T71" fmla="*/ 2147483646 h 65"/>
                <a:gd name="T72" fmla="*/ 2147483646 w 81"/>
                <a:gd name="T73" fmla="*/ 2147483646 h 65"/>
                <a:gd name="T74" fmla="*/ 2147483646 w 81"/>
                <a:gd name="T75" fmla="*/ 2147483646 h 65"/>
                <a:gd name="T76" fmla="*/ 2147483646 w 81"/>
                <a:gd name="T77" fmla="*/ 2147483646 h 65"/>
                <a:gd name="T78" fmla="*/ 2147483646 w 81"/>
                <a:gd name="T79" fmla="*/ 2147483646 h 65"/>
                <a:gd name="T80" fmla="*/ 0 w 81"/>
                <a:gd name="T81" fmla="*/ 2147483646 h 6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81"/>
                <a:gd name="T124" fmla="*/ 0 h 65"/>
                <a:gd name="T125" fmla="*/ 81 w 81"/>
                <a:gd name="T126" fmla="*/ 65 h 6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81" h="65">
                  <a:moveTo>
                    <a:pt x="0" y="36"/>
                  </a:moveTo>
                  <a:lnTo>
                    <a:pt x="0" y="42"/>
                  </a:lnTo>
                  <a:lnTo>
                    <a:pt x="4" y="44"/>
                  </a:lnTo>
                  <a:lnTo>
                    <a:pt x="3" y="48"/>
                  </a:lnTo>
                  <a:lnTo>
                    <a:pt x="18" y="47"/>
                  </a:lnTo>
                  <a:lnTo>
                    <a:pt x="21" y="49"/>
                  </a:lnTo>
                  <a:lnTo>
                    <a:pt x="23" y="52"/>
                  </a:lnTo>
                  <a:lnTo>
                    <a:pt x="23" y="57"/>
                  </a:lnTo>
                  <a:lnTo>
                    <a:pt x="30" y="60"/>
                  </a:lnTo>
                  <a:lnTo>
                    <a:pt x="34" y="60"/>
                  </a:lnTo>
                  <a:lnTo>
                    <a:pt x="35" y="64"/>
                  </a:lnTo>
                  <a:lnTo>
                    <a:pt x="38" y="65"/>
                  </a:lnTo>
                  <a:lnTo>
                    <a:pt x="41" y="63"/>
                  </a:lnTo>
                  <a:lnTo>
                    <a:pt x="44" y="59"/>
                  </a:lnTo>
                  <a:lnTo>
                    <a:pt x="52" y="59"/>
                  </a:lnTo>
                  <a:lnTo>
                    <a:pt x="56" y="53"/>
                  </a:lnTo>
                  <a:lnTo>
                    <a:pt x="58" y="45"/>
                  </a:lnTo>
                  <a:lnTo>
                    <a:pt x="61" y="41"/>
                  </a:lnTo>
                  <a:lnTo>
                    <a:pt x="64" y="41"/>
                  </a:lnTo>
                  <a:lnTo>
                    <a:pt x="64" y="44"/>
                  </a:lnTo>
                  <a:lnTo>
                    <a:pt x="71" y="42"/>
                  </a:lnTo>
                  <a:lnTo>
                    <a:pt x="76" y="39"/>
                  </a:lnTo>
                  <a:lnTo>
                    <a:pt x="79" y="33"/>
                  </a:lnTo>
                  <a:lnTo>
                    <a:pt x="81" y="26"/>
                  </a:lnTo>
                  <a:lnTo>
                    <a:pt x="76" y="21"/>
                  </a:lnTo>
                  <a:lnTo>
                    <a:pt x="70" y="17"/>
                  </a:lnTo>
                  <a:lnTo>
                    <a:pt x="65" y="17"/>
                  </a:lnTo>
                  <a:lnTo>
                    <a:pt x="53" y="20"/>
                  </a:lnTo>
                  <a:lnTo>
                    <a:pt x="43" y="15"/>
                  </a:lnTo>
                  <a:lnTo>
                    <a:pt x="40" y="8"/>
                  </a:lnTo>
                  <a:lnTo>
                    <a:pt x="36" y="3"/>
                  </a:lnTo>
                  <a:lnTo>
                    <a:pt x="33" y="3"/>
                  </a:lnTo>
                  <a:lnTo>
                    <a:pt x="29" y="0"/>
                  </a:lnTo>
                  <a:lnTo>
                    <a:pt x="25" y="0"/>
                  </a:lnTo>
                  <a:lnTo>
                    <a:pt x="17" y="15"/>
                  </a:lnTo>
                  <a:lnTo>
                    <a:pt x="12" y="15"/>
                  </a:lnTo>
                  <a:lnTo>
                    <a:pt x="8" y="17"/>
                  </a:lnTo>
                  <a:lnTo>
                    <a:pt x="8" y="21"/>
                  </a:lnTo>
                  <a:lnTo>
                    <a:pt x="3" y="28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53" name="Freeform 21">
              <a:extLst>
                <a:ext uri="{FF2B5EF4-FFF2-40B4-BE49-F238E27FC236}">
                  <a16:creationId xmlns:a16="http://schemas.microsoft.com/office/drawing/2014/main" id="{A673BC8F-4C42-40DC-A517-FF2BA9FB2B43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auto">
            <a:xfrm>
              <a:off x="1758950" y="3171825"/>
              <a:ext cx="827088" cy="681038"/>
            </a:xfrm>
            <a:custGeom>
              <a:avLst/>
              <a:gdLst>
                <a:gd name="T0" fmla="*/ 2147483646 w 100"/>
                <a:gd name="T1" fmla="*/ 2147483646 h 86"/>
                <a:gd name="T2" fmla="*/ 2147483646 w 100"/>
                <a:gd name="T3" fmla="*/ 2147483646 h 86"/>
                <a:gd name="T4" fmla="*/ 2147483646 w 100"/>
                <a:gd name="T5" fmla="*/ 2147483646 h 86"/>
                <a:gd name="T6" fmla="*/ 2147483646 w 100"/>
                <a:gd name="T7" fmla="*/ 2147483646 h 86"/>
                <a:gd name="T8" fmla="*/ 2147483646 w 100"/>
                <a:gd name="T9" fmla="*/ 2147483646 h 86"/>
                <a:gd name="T10" fmla="*/ 2147483646 w 100"/>
                <a:gd name="T11" fmla="*/ 2147483646 h 86"/>
                <a:gd name="T12" fmla="*/ 2147483646 w 100"/>
                <a:gd name="T13" fmla="*/ 2147483646 h 86"/>
                <a:gd name="T14" fmla="*/ 2147483646 w 100"/>
                <a:gd name="T15" fmla="*/ 2147483646 h 86"/>
                <a:gd name="T16" fmla="*/ 2147483646 w 100"/>
                <a:gd name="T17" fmla="*/ 2147483646 h 86"/>
                <a:gd name="T18" fmla="*/ 2147483646 w 100"/>
                <a:gd name="T19" fmla="*/ 2147483646 h 86"/>
                <a:gd name="T20" fmla="*/ 2147483646 w 100"/>
                <a:gd name="T21" fmla="*/ 2147483646 h 86"/>
                <a:gd name="T22" fmla="*/ 2147483646 w 100"/>
                <a:gd name="T23" fmla="*/ 2147483646 h 86"/>
                <a:gd name="T24" fmla="*/ 2147483646 w 100"/>
                <a:gd name="T25" fmla="*/ 2147483646 h 86"/>
                <a:gd name="T26" fmla="*/ 2147483646 w 100"/>
                <a:gd name="T27" fmla="*/ 2147483646 h 86"/>
                <a:gd name="T28" fmla="*/ 2147483646 w 100"/>
                <a:gd name="T29" fmla="*/ 2147483646 h 86"/>
                <a:gd name="T30" fmla="*/ 2147483646 w 100"/>
                <a:gd name="T31" fmla="*/ 2147483646 h 86"/>
                <a:gd name="T32" fmla="*/ 2147483646 w 100"/>
                <a:gd name="T33" fmla="*/ 2147483646 h 86"/>
                <a:gd name="T34" fmla="*/ 2147483646 w 100"/>
                <a:gd name="T35" fmla="*/ 2147483646 h 86"/>
                <a:gd name="T36" fmla="*/ 2147483646 w 100"/>
                <a:gd name="T37" fmla="*/ 2147483646 h 86"/>
                <a:gd name="T38" fmla="*/ 2147483646 w 100"/>
                <a:gd name="T39" fmla="*/ 2147483646 h 86"/>
                <a:gd name="T40" fmla="*/ 2147483646 w 100"/>
                <a:gd name="T41" fmla="*/ 2147483646 h 86"/>
                <a:gd name="T42" fmla="*/ 2147483646 w 100"/>
                <a:gd name="T43" fmla="*/ 2147483646 h 86"/>
                <a:gd name="T44" fmla="*/ 2147483646 w 100"/>
                <a:gd name="T45" fmla="*/ 2147483646 h 86"/>
                <a:gd name="T46" fmla="*/ 2147483646 w 100"/>
                <a:gd name="T47" fmla="*/ 2147483646 h 86"/>
                <a:gd name="T48" fmla="*/ 2147483646 w 100"/>
                <a:gd name="T49" fmla="*/ 2147483646 h 86"/>
                <a:gd name="T50" fmla="*/ 2147483646 w 100"/>
                <a:gd name="T51" fmla="*/ 2147483646 h 86"/>
                <a:gd name="T52" fmla="*/ 2147483646 w 100"/>
                <a:gd name="T53" fmla="*/ 2147483646 h 86"/>
                <a:gd name="T54" fmla="*/ 2147483646 w 100"/>
                <a:gd name="T55" fmla="*/ 2147483646 h 86"/>
                <a:gd name="T56" fmla="*/ 0 w 100"/>
                <a:gd name="T57" fmla="*/ 2147483646 h 86"/>
                <a:gd name="T58" fmla="*/ 2147483646 w 100"/>
                <a:gd name="T59" fmla="*/ 2147483646 h 86"/>
                <a:gd name="T60" fmla="*/ 2147483646 w 100"/>
                <a:gd name="T61" fmla="*/ 2147483646 h 86"/>
                <a:gd name="T62" fmla="*/ 2147483646 w 100"/>
                <a:gd name="T63" fmla="*/ 2147483646 h 86"/>
                <a:gd name="T64" fmla="*/ 2147483646 w 100"/>
                <a:gd name="T65" fmla="*/ 2147483646 h 86"/>
                <a:gd name="T66" fmla="*/ 2147483646 w 100"/>
                <a:gd name="T67" fmla="*/ 2147483646 h 86"/>
                <a:gd name="T68" fmla="*/ 2147483646 w 100"/>
                <a:gd name="T69" fmla="*/ 2147483646 h 86"/>
                <a:gd name="T70" fmla="*/ 2147483646 w 100"/>
                <a:gd name="T71" fmla="*/ 2147483646 h 86"/>
                <a:gd name="T72" fmla="*/ 2147483646 w 100"/>
                <a:gd name="T73" fmla="*/ 2147483646 h 86"/>
                <a:gd name="T74" fmla="*/ 2147483646 w 100"/>
                <a:gd name="T75" fmla="*/ 2147483646 h 86"/>
                <a:gd name="T76" fmla="*/ 2147483646 w 100"/>
                <a:gd name="T77" fmla="*/ 2147483646 h 86"/>
                <a:gd name="T78" fmla="*/ 2147483646 w 100"/>
                <a:gd name="T79" fmla="*/ 2147483646 h 86"/>
                <a:gd name="T80" fmla="*/ 2147483646 w 100"/>
                <a:gd name="T81" fmla="*/ 2147483646 h 86"/>
                <a:gd name="T82" fmla="*/ 2147483646 w 100"/>
                <a:gd name="T83" fmla="*/ 2147483646 h 86"/>
                <a:gd name="T84" fmla="*/ 2147483646 w 100"/>
                <a:gd name="T85" fmla="*/ 2147483646 h 86"/>
                <a:gd name="T86" fmla="*/ 2147483646 w 100"/>
                <a:gd name="T87" fmla="*/ 0 h 86"/>
                <a:gd name="T88" fmla="*/ 2147483646 w 100"/>
                <a:gd name="T89" fmla="*/ 2147483646 h 86"/>
                <a:gd name="T90" fmla="*/ 2147483646 w 100"/>
                <a:gd name="T91" fmla="*/ 2147483646 h 86"/>
                <a:gd name="T92" fmla="*/ 2147483646 w 100"/>
                <a:gd name="T93" fmla="*/ 2147483646 h 86"/>
                <a:gd name="T94" fmla="*/ 2147483646 w 100"/>
                <a:gd name="T95" fmla="*/ 2147483646 h 86"/>
                <a:gd name="T96" fmla="*/ 2147483646 w 100"/>
                <a:gd name="T97" fmla="*/ 2147483646 h 8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00"/>
                <a:gd name="T148" fmla="*/ 0 h 86"/>
                <a:gd name="T149" fmla="*/ 100 w 100"/>
                <a:gd name="T150" fmla="*/ 86 h 8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00" h="86">
                  <a:moveTo>
                    <a:pt x="91" y="3"/>
                  </a:moveTo>
                  <a:lnTo>
                    <a:pt x="96" y="7"/>
                  </a:lnTo>
                  <a:lnTo>
                    <a:pt x="100" y="11"/>
                  </a:lnTo>
                  <a:lnTo>
                    <a:pt x="98" y="15"/>
                  </a:lnTo>
                  <a:lnTo>
                    <a:pt x="94" y="19"/>
                  </a:lnTo>
                  <a:lnTo>
                    <a:pt x="89" y="23"/>
                  </a:lnTo>
                  <a:lnTo>
                    <a:pt x="89" y="29"/>
                  </a:lnTo>
                  <a:lnTo>
                    <a:pt x="90" y="37"/>
                  </a:lnTo>
                  <a:lnTo>
                    <a:pt x="90" y="44"/>
                  </a:lnTo>
                  <a:lnTo>
                    <a:pt x="88" y="54"/>
                  </a:lnTo>
                  <a:lnTo>
                    <a:pt x="87" y="58"/>
                  </a:lnTo>
                  <a:lnTo>
                    <a:pt x="80" y="60"/>
                  </a:lnTo>
                  <a:lnTo>
                    <a:pt x="67" y="60"/>
                  </a:lnTo>
                  <a:lnTo>
                    <a:pt x="64" y="63"/>
                  </a:lnTo>
                  <a:lnTo>
                    <a:pt x="59" y="77"/>
                  </a:lnTo>
                  <a:lnTo>
                    <a:pt x="41" y="73"/>
                  </a:lnTo>
                  <a:lnTo>
                    <a:pt x="37" y="76"/>
                  </a:lnTo>
                  <a:lnTo>
                    <a:pt x="34" y="74"/>
                  </a:lnTo>
                  <a:lnTo>
                    <a:pt x="30" y="75"/>
                  </a:lnTo>
                  <a:lnTo>
                    <a:pt x="27" y="86"/>
                  </a:lnTo>
                  <a:lnTo>
                    <a:pt x="23" y="83"/>
                  </a:lnTo>
                  <a:lnTo>
                    <a:pt x="18" y="84"/>
                  </a:lnTo>
                  <a:lnTo>
                    <a:pt x="16" y="81"/>
                  </a:lnTo>
                  <a:lnTo>
                    <a:pt x="14" y="73"/>
                  </a:lnTo>
                  <a:lnTo>
                    <a:pt x="10" y="67"/>
                  </a:lnTo>
                  <a:lnTo>
                    <a:pt x="6" y="62"/>
                  </a:lnTo>
                  <a:lnTo>
                    <a:pt x="5" y="58"/>
                  </a:lnTo>
                  <a:lnTo>
                    <a:pt x="1" y="53"/>
                  </a:lnTo>
                  <a:lnTo>
                    <a:pt x="0" y="48"/>
                  </a:lnTo>
                  <a:lnTo>
                    <a:pt x="3" y="46"/>
                  </a:lnTo>
                  <a:lnTo>
                    <a:pt x="6" y="42"/>
                  </a:lnTo>
                  <a:lnTo>
                    <a:pt x="14" y="42"/>
                  </a:lnTo>
                  <a:lnTo>
                    <a:pt x="18" y="36"/>
                  </a:lnTo>
                  <a:lnTo>
                    <a:pt x="20" y="28"/>
                  </a:lnTo>
                  <a:lnTo>
                    <a:pt x="23" y="24"/>
                  </a:lnTo>
                  <a:lnTo>
                    <a:pt x="26" y="24"/>
                  </a:lnTo>
                  <a:lnTo>
                    <a:pt x="26" y="27"/>
                  </a:lnTo>
                  <a:lnTo>
                    <a:pt x="33" y="25"/>
                  </a:lnTo>
                  <a:lnTo>
                    <a:pt x="38" y="22"/>
                  </a:lnTo>
                  <a:lnTo>
                    <a:pt x="41" y="16"/>
                  </a:lnTo>
                  <a:lnTo>
                    <a:pt x="43" y="9"/>
                  </a:lnTo>
                  <a:lnTo>
                    <a:pt x="53" y="5"/>
                  </a:lnTo>
                  <a:lnTo>
                    <a:pt x="58" y="4"/>
                  </a:lnTo>
                  <a:lnTo>
                    <a:pt x="62" y="0"/>
                  </a:lnTo>
                  <a:lnTo>
                    <a:pt x="69" y="1"/>
                  </a:lnTo>
                  <a:lnTo>
                    <a:pt x="77" y="5"/>
                  </a:lnTo>
                  <a:lnTo>
                    <a:pt x="84" y="3"/>
                  </a:lnTo>
                  <a:lnTo>
                    <a:pt x="91" y="2"/>
                  </a:lnTo>
                  <a:lnTo>
                    <a:pt x="91" y="3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54" name="Freeform 22">
              <a:extLst>
                <a:ext uri="{FF2B5EF4-FFF2-40B4-BE49-F238E27FC236}">
                  <a16:creationId xmlns:a16="http://schemas.microsoft.com/office/drawing/2014/main" id="{B2882CB4-2CDE-44AC-B97C-679979020E98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auto">
            <a:xfrm>
              <a:off x="823913" y="3890963"/>
              <a:ext cx="546100" cy="365125"/>
            </a:xfrm>
            <a:custGeom>
              <a:avLst/>
              <a:gdLst>
                <a:gd name="T0" fmla="*/ 2147483646 w 66"/>
                <a:gd name="T1" fmla="*/ 2147483646 h 46"/>
                <a:gd name="T2" fmla="*/ 2147483646 w 66"/>
                <a:gd name="T3" fmla="*/ 2147483646 h 46"/>
                <a:gd name="T4" fmla="*/ 2147483646 w 66"/>
                <a:gd name="T5" fmla="*/ 2147483646 h 46"/>
                <a:gd name="T6" fmla="*/ 2147483646 w 66"/>
                <a:gd name="T7" fmla="*/ 2147483646 h 46"/>
                <a:gd name="T8" fmla="*/ 2147483646 w 66"/>
                <a:gd name="T9" fmla="*/ 2147483646 h 46"/>
                <a:gd name="T10" fmla="*/ 2147483646 w 66"/>
                <a:gd name="T11" fmla="*/ 2147483646 h 46"/>
                <a:gd name="T12" fmla="*/ 2147483646 w 66"/>
                <a:gd name="T13" fmla="*/ 2147483646 h 46"/>
                <a:gd name="T14" fmla="*/ 2147483646 w 66"/>
                <a:gd name="T15" fmla="*/ 2147483646 h 46"/>
                <a:gd name="T16" fmla="*/ 2147483646 w 66"/>
                <a:gd name="T17" fmla="*/ 2147483646 h 46"/>
                <a:gd name="T18" fmla="*/ 2147483646 w 66"/>
                <a:gd name="T19" fmla="*/ 2147483646 h 46"/>
                <a:gd name="T20" fmla="*/ 2147483646 w 66"/>
                <a:gd name="T21" fmla="*/ 2147483646 h 46"/>
                <a:gd name="T22" fmla="*/ 2147483646 w 66"/>
                <a:gd name="T23" fmla="*/ 2147483646 h 46"/>
                <a:gd name="T24" fmla="*/ 2147483646 w 66"/>
                <a:gd name="T25" fmla="*/ 2147483646 h 46"/>
                <a:gd name="T26" fmla="*/ 2147483646 w 66"/>
                <a:gd name="T27" fmla="*/ 2147483646 h 46"/>
                <a:gd name="T28" fmla="*/ 2147483646 w 66"/>
                <a:gd name="T29" fmla="*/ 2147483646 h 46"/>
                <a:gd name="T30" fmla="*/ 0 w 66"/>
                <a:gd name="T31" fmla="*/ 2147483646 h 46"/>
                <a:gd name="T32" fmla="*/ 2147483646 w 66"/>
                <a:gd name="T33" fmla="*/ 2147483646 h 46"/>
                <a:gd name="T34" fmla="*/ 2147483646 w 66"/>
                <a:gd name="T35" fmla="*/ 2147483646 h 46"/>
                <a:gd name="T36" fmla="*/ 2147483646 w 66"/>
                <a:gd name="T37" fmla="*/ 2147483646 h 46"/>
                <a:gd name="T38" fmla="*/ 2147483646 w 66"/>
                <a:gd name="T39" fmla="*/ 2147483646 h 46"/>
                <a:gd name="T40" fmla="*/ 2147483646 w 66"/>
                <a:gd name="T41" fmla="*/ 2147483646 h 46"/>
                <a:gd name="T42" fmla="*/ 2147483646 w 66"/>
                <a:gd name="T43" fmla="*/ 2147483646 h 46"/>
                <a:gd name="T44" fmla="*/ 2147483646 w 66"/>
                <a:gd name="T45" fmla="*/ 2147483646 h 46"/>
                <a:gd name="T46" fmla="*/ 2147483646 w 66"/>
                <a:gd name="T47" fmla="*/ 0 h 46"/>
                <a:gd name="T48" fmla="*/ 2147483646 w 66"/>
                <a:gd name="T49" fmla="*/ 0 h 46"/>
                <a:gd name="T50" fmla="*/ 2147483646 w 66"/>
                <a:gd name="T51" fmla="*/ 2147483646 h 46"/>
                <a:gd name="T52" fmla="*/ 2147483646 w 66"/>
                <a:gd name="T53" fmla="*/ 2147483646 h 46"/>
                <a:gd name="T54" fmla="*/ 2147483646 w 66"/>
                <a:gd name="T55" fmla="*/ 2147483646 h 46"/>
                <a:gd name="T56" fmla="*/ 2147483646 w 66"/>
                <a:gd name="T57" fmla="*/ 2147483646 h 46"/>
                <a:gd name="T58" fmla="*/ 2147483646 w 66"/>
                <a:gd name="T59" fmla="*/ 2147483646 h 46"/>
                <a:gd name="T60" fmla="*/ 2147483646 w 66"/>
                <a:gd name="T61" fmla="*/ 2147483646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66"/>
                <a:gd name="T94" fmla="*/ 0 h 46"/>
                <a:gd name="T95" fmla="*/ 66 w 66"/>
                <a:gd name="T96" fmla="*/ 46 h 4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66" h="46">
                  <a:moveTo>
                    <a:pt x="66" y="36"/>
                  </a:moveTo>
                  <a:lnTo>
                    <a:pt x="63" y="37"/>
                  </a:lnTo>
                  <a:lnTo>
                    <a:pt x="63" y="42"/>
                  </a:lnTo>
                  <a:lnTo>
                    <a:pt x="58" y="46"/>
                  </a:lnTo>
                  <a:lnTo>
                    <a:pt x="54" y="46"/>
                  </a:lnTo>
                  <a:lnTo>
                    <a:pt x="49" y="42"/>
                  </a:lnTo>
                  <a:lnTo>
                    <a:pt x="43" y="40"/>
                  </a:lnTo>
                  <a:lnTo>
                    <a:pt x="39" y="39"/>
                  </a:lnTo>
                  <a:lnTo>
                    <a:pt x="35" y="43"/>
                  </a:lnTo>
                  <a:lnTo>
                    <a:pt x="27" y="43"/>
                  </a:lnTo>
                  <a:lnTo>
                    <a:pt x="25" y="41"/>
                  </a:lnTo>
                  <a:lnTo>
                    <a:pt x="24" y="40"/>
                  </a:lnTo>
                  <a:lnTo>
                    <a:pt x="21" y="40"/>
                  </a:lnTo>
                  <a:lnTo>
                    <a:pt x="19" y="43"/>
                  </a:lnTo>
                  <a:lnTo>
                    <a:pt x="8" y="42"/>
                  </a:lnTo>
                  <a:lnTo>
                    <a:pt x="0" y="40"/>
                  </a:lnTo>
                  <a:lnTo>
                    <a:pt x="2" y="41"/>
                  </a:lnTo>
                  <a:lnTo>
                    <a:pt x="2" y="33"/>
                  </a:lnTo>
                  <a:lnTo>
                    <a:pt x="4" y="25"/>
                  </a:lnTo>
                  <a:lnTo>
                    <a:pt x="11" y="19"/>
                  </a:lnTo>
                  <a:lnTo>
                    <a:pt x="23" y="15"/>
                  </a:lnTo>
                  <a:lnTo>
                    <a:pt x="28" y="10"/>
                  </a:lnTo>
                  <a:lnTo>
                    <a:pt x="32" y="1"/>
                  </a:lnTo>
                  <a:lnTo>
                    <a:pt x="31" y="0"/>
                  </a:lnTo>
                  <a:lnTo>
                    <a:pt x="36" y="0"/>
                  </a:lnTo>
                  <a:lnTo>
                    <a:pt x="44" y="2"/>
                  </a:lnTo>
                  <a:lnTo>
                    <a:pt x="57" y="2"/>
                  </a:lnTo>
                  <a:lnTo>
                    <a:pt x="57" y="23"/>
                  </a:lnTo>
                  <a:lnTo>
                    <a:pt x="61" y="26"/>
                  </a:lnTo>
                  <a:lnTo>
                    <a:pt x="64" y="30"/>
                  </a:lnTo>
                  <a:lnTo>
                    <a:pt x="66" y="36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55" name="Freeform 23">
              <a:extLst>
                <a:ext uri="{FF2B5EF4-FFF2-40B4-BE49-F238E27FC236}">
                  <a16:creationId xmlns:a16="http://schemas.microsoft.com/office/drawing/2014/main" id="{2696B095-EE5C-49CD-9186-1B75AC0451AA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auto">
            <a:xfrm>
              <a:off x="1039813" y="3459163"/>
              <a:ext cx="355600" cy="450850"/>
            </a:xfrm>
            <a:custGeom>
              <a:avLst/>
              <a:gdLst>
                <a:gd name="T0" fmla="*/ 2147483646 w 43"/>
                <a:gd name="T1" fmla="*/ 2147483646 h 57"/>
                <a:gd name="T2" fmla="*/ 2147483646 w 43"/>
                <a:gd name="T3" fmla="*/ 2147483646 h 57"/>
                <a:gd name="T4" fmla="*/ 2147483646 w 43"/>
                <a:gd name="T5" fmla="*/ 2147483646 h 57"/>
                <a:gd name="T6" fmla="*/ 2147483646 w 43"/>
                <a:gd name="T7" fmla="*/ 2147483646 h 57"/>
                <a:gd name="T8" fmla="*/ 2147483646 w 43"/>
                <a:gd name="T9" fmla="*/ 2147483646 h 57"/>
                <a:gd name="T10" fmla="*/ 2147483646 w 43"/>
                <a:gd name="T11" fmla="*/ 2147483646 h 57"/>
                <a:gd name="T12" fmla="*/ 2147483646 w 43"/>
                <a:gd name="T13" fmla="*/ 2147483646 h 57"/>
                <a:gd name="T14" fmla="*/ 2147483646 w 43"/>
                <a:gd name="T15" fmla="*/ 2147483646 h 57"/>
                <a:gd name="T16" fmla="*/ 2147483646 w 43"/>
                <a:gd name="T17" fmla="*/ 2147483646 h 57"/>
                <a:gd name="T18" fmla="*/ 2147483646 w 43"/>
                <a:gd name="T19" fmla="*/ 2147483646 h 57"/>
                <a:gd name="T20" fmla="*/ 2147483646 w 43"/>
                <a:gd name="T21" fmla="*/ 2147483646 h 57"/>
                <a:gd name="T22" fmla="*/ 2147483646 w 43"/>
                <a:gd name="T23" fmla="*/ 2147483646 h 57"/>
                <a:gd name="T24" fmla="*/ 2147483646 w 43"/>
                <a:gd name="T25" fmla="*/ 2147483646 h 57"/>
                <a:gd name="T26" fmla="*/ 0 w 43"/>
                <a:gd name="T27" fmla="*/ 2147483646 h 57"/>
                <a:gd name="T28" fmla="*/ 2147483646 w 43"/>
                <a:gd name="T29" fmla="*/ 2147483646 h 57"/>
                <a:gd name="T30" fmla="*/ 2147483646 w 43"/>
                <a:gd name="T31" fmla="*/ 2147483646 h 57"/>
                <a:gd name="T32" fmla="*/ 2147483646 w 43"/>
                <a:gd name="T33" fmla="*/ 2147483646 h 57"/>
                <a:gd name="T34" fmla="*/ 2147483646 w 43"/>
                <a:gd name="T35" fmla="*/ 2147483646 h 57"/>
                <a:gd name="T36" fmla="*/ 2147483646 w 43"/>
                <a:gd name="T37" fmla="*/ 2147483646 h 57"/>
                <a:gd name="T38" fmla="*/ 2147483646 w 43"/>
                <a:gd name="T39" fmla="*/ 2147483646 h 57"/>
                <a:gd name="T40" fmla="*/ 2147483646 w 43"/>
                <a:gd name="T41" fmla="*/ 2147483646 h 57"/>
                <a:gd name="T42" fmla="*/ 2147483646 w 43"/>
                <a:gd name="T43" fmla="*/ 2147483646 h 57"/>
                <a:gd name="T44" fmla="*/ 2147483646 w 43"/>
                <a:gd name="T45" fmla="*/ 2147483646 h 57"/>
                <a:gd name="T46" fmla="*/ 2147483646 w 43"/>
                <a:gd name="T47" fmla="*/ 2147483646 h 57"/>
                <a:gd name="T48" fmla="*/ 2147483646 w 43"/>
                <a:gd name="T49" fmla="*/ 2147483646 h 57"/>
                <a:gd name="T50" fmla="*/ 2147483646 w 43"/>
                <a:gd name="T51" fmla="*/ 2147483646 h 57"/>
                <a:gd name="T52" fmla="*/ 2147483646 w 43"/>
                <a:gd name="T53" fmla="*/ 0 h 57"/>
                <a:gd name="T54" fmla="*/ 2147483646 w 43"/>
                <a:gd name="T55" fmla="*/ 2147483646 h 57"/>
                <a:gd name="T56" fmla="*/ 2147483646 w 43"/>
                <a:gd name="T57" fmla="*/ 2147483646 h 57"/>
                <a:gd name="T58" fmla="*/ 2147483646 w 43"/>
                <a:gd name="T59" fmla="*/ 2147483646 h 57"/>
                <a:gd name="T60" fmla="*/ 2147483646 w 43"/>
                <a:gd name="T61" fmla="*/ 2147483646 h 57"/>
                <a:gd name="T62" fmla="*/ 2147483646 w 43"/>
                <a:gd name="T63" fmla="*/ 2147483646 h 57"/>
                <a:gd name="T64" fmla="*/ 2147483646 w 43"/>
                <a:gd name="T65" fmla="*/ 2147483646 h 57"/>
                <a:gd name="T66" fmla="*/ 2147483646 w 43"/>
                <a:gd name="T67" fmla="*/ 2147483646 h 57"/>
                <a:gd name="T68" fmla="*/ 2147483646 w 43"/>
                <a:gd name="T69" fmla="*/ 2147483646 h 5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3"/>
                <a:gd name="T106" fmla="*/ 0 h 57"/>
                <a:gd name="T107" fmla="*/ 43 w 43"/>
                <a:gd name="T108" fmla="*/ 57 h 5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3" h="57">
                  <a:moveTo>
                    <a:pt x="42" y="26"/>
                  </a:moveTo>
                  <a:lnTo>
                    <a:pt x="43" y="33"/>
                  </a:lnTo>
                  <a:lnTo>
                    <a:pt x="40" y="40"/>
                  </a:lnTo>
                  <a:lnTo>
                    <a:pt x="40" y="47"/>
                  </a:lnTo>
                  <a:lnTo>
                    <a:pt x="36" y="47"/>
                  </a:lnTo>
                  <a:lnTo>
                    <a:pt x="36" y="53"/>
                  </a:lnTo>
                  <a:lnTo>
                    <a:pt x="33" y="56"/>
                  </a:lnTo>
                  <a:lnTo>
                    <a:pt x="29" y="55"/>
                  </a:lnTo>
                  <a:lnTo>
                    <a:pt x="29" y="57"/>
                  </a:lnTo>
                  <a:lnTo>
                    <a:pt x="16" y="57"/>
                  </a:lnTo>
                  <a:lnTo>
                    <a:pt x="8" y="55"/>
                  </a:lnTo>
                  <a:lnTo>
                    <a:pt x="3" y="55"/>
                  </a:lnTo>
                  <a:lnTo>
                    <a:pt x="4" y="56"/>
                  </a:lnTo>
                  <a:lnTo>
                    <a:pt x="0" y="53"/>
                  </a:lnTo>
                  <a:lnTo>
                    <a:pt x="2" y="49"/>
                  </a:lnTo>
                  <a:lnTo>
                    <a:pt x="2" y="44"/>
                  </a:lnTo>
                  <a:lnTo>
                    <a:pt x="1" y="33"/>
                  </a:lnTo>
                  <a:lnTo>
                    <a:pt x="4" y="28"/>
                  </a:lnTo>
                  <a:lnTo>
                    <a:pt x="7" y="26"/>
                  </a:lnTo>
                  <a:lnTo>
                    <a:pt x="7" y="22"/>
                  </a:lnTo>
                  <a:lnTo>
                    <a:pt x="10" y="22"/>
                  </a:lnTo>
                  <a:lnTo>
                    <a:pt x="15" y="11"/>
                  </a:lnTo>
                  <a:lnTo>
                    <a:pt x="11" y="7"/>
                  </a:lnTo>
                  <a:lnTo>
                    <a:pt x="11" y="4"/>
                  </a:lnTo>
                  <a:lnTo>
                    <a:pt x="14" y="4"/>
                  </a:lnTo>
                  <a:lnTo>
                    <a:pt x="15" y="0"/>
                  </a:lnTo>
                  <a:lnTo>
                    <a:pt x="20" y="2"/>
                  </a:lnTo>
                  <a:lnTo>
                    <a:pt x="33" y="2"/>
                  </a:lnTo>
                  <a:lnTo>
                    <a:pt x="36" y="5"/>
                  </a:lnTo>
                  <a:lnTo>
                    <a:pt x="38" y="10"/>
                  </a:lnTo>
                  <a:lnTo>
                    <a:pt x="39" y="15"/>
                  </a:lnTo>
                  <a:lnTo>
                    <a:pt x="39" y="20"/>
                  </a:lnTo>
                  <a:lnTo>
                    <a:pt x="38" y="23"/>
                  </a:lnTo>
                  <a:lnTo>
                    <a:pt x="42" y="26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56" name="Freeform 24">
              <a:extLst>
                <a:ext uri="{FF2B5EF4-FFF2-40B4-BE49-F238E27FC236}">
                  <a16:creationId xmlns:a16="http://schemas.microsoft.com/office/drawing/2014/main" id="{D23309E2-D225-4EC8-882B-FD2C624485A0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 bwMode="auto">
            <a:xfrm>
              <a:off x="1373188" y="3387725"/>
              <a:ext cx="530225" cy="476250"/>
            </a:xfrm>
            <a:custGeom>
              <a:avLst/>
              <a:gdLst>
                <a:gd name="T0" fmla="*/ 2147483646 w 64"/>
                <a:gd name="T1" fmla="*/ 2147483646 h 60"/>
                <a:gd name="T2" fmla="*/ 2147483646 w 64"/>
                <a:gd name="T3" fmla="*/ 2147483646 h 60"/>
                <a:gd name="T4" fmla="*/ 2147483646 w 64"/>
                <a:gd name="T5" fmla="*/ 2147483646 h 60"/>
                <a:gd name="T6" fmla="*/ 2147483646 w 64"/>
                <a:gd name="T7" fmla="*/ 2147483646 h 60"/>
                <a:gd name="T8" fmla="*/ 2147483646 w 64"/>
                <a:gd name="T9" fmla="*/ 2147483646 h 60"/>
                <a:gd name="T10" fmla="*/ 2147483646 w 64"/>
                <a:gd name="T11" fmla="*/ 2147483646 h 60"/>
                <a:gd name="T12" fmla="*/ 2147483646 w 64"/>
                <a:gd name="T13" fmla="*/ 2147483646 h 60"/>
                <a:gd name="T14" fmla="*/ 2147483646 w 64"/>
                <a:gd name="T15" fmla="*/ 2147483646 h 60"/>
                <a:gd name="T16" fmla="*/ 2147483646 w 64"/>
                <a:gd name="T17" fmla="*/ 2147483646 h 60"/>
                <a:gd name="T18" fmla="*/ 2147483646 w 64"/>
                <a:gd name="T19" fmla="*/ 2147483646 h 60"/>
                <a:gd name="T20" fmla="*/ 2147483646 w 64"/>
                <a:gd name="T21" fmla="*/ 2147483646 h 60"/>
                <a:gd name="T22" fmla="*/ 2147483646 w 64"/>
                <a:gd name="T23" fmla="*/ 2147483646 h 60"/>
                <a:gd name="T24" fmla="*/ 2147483646 w 64"/>
                <a:gd name="T25" fmla="*/ 2147483646 h 60"/>
                <a:gd name="T26" fmla="*/ 2147483646 w 64"/>
                <a:gd name="T27" fmla="*/ 2147483646 h 60"/>
                <a:gd name="T28" fmla="*/ 2147483646 w 64"/>
                <a:gd name="T29" fmla="*/ 2147483646 h 60"/>
                <a:gd name="T30" fmla="*/ 2147483646 w 64"/>
                <a:gd name="T31" fmla="*/ 2147483646 h 60"/>
                <a:gd name="T32" fmla="*/ 2147483646 w 64"/>
                <a:gd name="T33" fmla="*/ 2147483646 h 60"/>
                <a:gd name="T34" fmla="*/ 2147483646 w 64"/>
                <a:gd name="T35" fmla="*/ 2147483646 h 60"/>
                <a:gd name="T36" fmla="*/ 2147483646 w 64"/>
                <a:gd name="T37" fmla="*/ 2147483646 h 60"/>
                <a:gd name="T38" fmla="*/ 2147483646 w 64"/>
                <a:gd name="T39" fmla="*/ 2147483646 h 60"/>
                <a:gd name="T40" fmla="*/ 2147483646 w 64"/>
                <a:gd name="T41" fmla="*/ 2147483646 h 60"/>
                <a:gd name="T42" fmla="*/ 2147483646 w 64"/>
                <a:gd name="T43" fmla="*/ 2147483646 h 60"/>
                <a:gd name="T44" fmla="*/ 2147483646 w 64"/>
                <a:gd name="T45" fmla="*/ 2147483646 h 60"/>
                <a:gd name="T46" fmla="*/ 2147483646 w 64"/>
                <a:gd name="T47" fmla="*/ 2147483646 h 60"/>
                <a:gd name="T48" fmla="*/ 2147483646 w 64"/>
                <a:gd name="T49" fmla="*/ 2147483646 h 60"/>
                <a:gd name="T50" fmla="*/ 2147483646 w 64"/>
                <a:gd name="T51" fmla="*/ 0 h 60"/>
                <a:gd name="T52" fmla="*/ 2147483646 w 64"/>
                <a:gd name="T53" fmla="*/ 2147483646 h 60"/>
                <a:gd name="T54" fmla="*/ 2147483646 w 64"/>
                <a:gd name="T55" fmla="*/ 2147483646 h 60"/>
                <a:gd name="T56" fmla="*/ 2147483646 w 64"/>
                <a:gd name="T57" fmla="*/ 2147483646 h 60"/>
                <a:gd name="T58" fmla="*/ 2147483646 w 64"/>
                <a:gd name="T59" fmla="*/ 2147483646 h 60"/>
                <a:gd name="T60" fmla="*/ 2147483646 w 64"/>
                <a:gd name="T61" fmla="*/ 2147483646 h 60"/>
                <a:gd name="T62" fmla="*/ 2147483646 w 64"/>
                <a:gd name="T63" fmla="*/ 2147483646 h 60"/>
                <a:gd name="T64" fmla="*/ 2147483646 w 64"/>
                <a:gd name="T65" fmla="*/ 2147483646 h 60"/>
                <a:gd name="T66" fmla="*/ 0 w 64"/>
                <a:gd name="T67" fmla="*/ 2147483646 h 60"/>
                <a:gd name="T68" fmla="*/ 0 w 64"/>
                <a:gd name="T69" fmla="*/ 2147483646 h 60"/>
                <a:gd name="T70" fmla="*/ 2147483646 w 64"/>
                <a:gd name="T71" fmla="*/ 2147483646 h 6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64"/>
                <a:gd name="T109" fmla="*/ 0 h 60"/>
                <a:gd name="T110" fmla="*/ 64 w 64"/>
                <a:gd name="T111" fmla="*/ 60 h 6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64" h="60">
                  <a:moveTo>
                    <a:pt x="1" y="40"/>
                  </a:moveTo>
                  <a:lnTo>
                    <a:pt x="3" y="40"/>
                  </a:lnTo>
                  <a:lnTo>
                    <a:pt x="4" y="44"/>
                  </a:lnTo>
                  <a:lnTo>
                    <a:pt x="10" y="47"/>
                  </a:lnTo>
                  <a:lnTo>
                    <a:pt x="9" y="55"/>
                  </a:lnTo>
                  <a:lnTo>
                    <a:pt x="16" y="60"/>
                  </a:lnTo>
                  <a:lnTo>
                    <a:pt x="23" y="60"/>
                  </a:lnTo>
                  <a:lnTo>
                    <a:pt x="36" y="56"/>
                  </a:lnTo>
                  <a:lnTo>
                    <a:pt x="54" y="56"/>
                  </a:lnTo>
                  <a:lnTo>
                    <a:pt x="54" y="55"/>
                  </a:lnTo>
                  <a:lnTo>
                    <a:pt x="64" y="49"/>
                  </a:lnTo>
                  <a:lnTo>
                    <a:pt x="63" y="43"/>
                  </a:lnTo>
                  <a:lnTo>
                    <a:pt x="59" y="37"/>
                  </a:lnTo>
                  <a:lnTo>
                    <a:pt x="55" y="32"/>
                  </a:lnTo>
                  <a:lnTo>
                    <a:pt x="54" y="28"/>
                  </a:lnTo>
                  <a:lnTo>
                    <a:pt x="50" y="23"/>
                  </a:lnTo>
                  <a:lnTo>
                    <a:pt x="49" y="18"/>
                  </a:lnTo>
                  <a:lnTo>
                    <a:pt x="52" y="16"/>
                  </a:lnTo>
                  <a:lnTo>
                    <a:pt x="49" y="18"/>
                  </a:lnTo>
                  <a:lnTo>
                    <a:pt x="46" y="17"/>
                  </a:lnTo>
                  <a:lnTo>
                    <a:pt x="45" y="13"/>
                  </a:lnTo>
                  <a:lnTo>
                    <a:pt x="41" y="13"/>
                  </a:lnTo>
                  <a:lnTo>
                    <a:pt x="34" y="10"/>
                  </a:lnTo>
                  <a:lnTo>
                    <a:pt x="34" y="5"/>
                  </a:lnTo>
                  <a:lnTo>
                    <a:pt x="32" y="2"/>
                  </a:lnTo>
                  <a:lnTo>
                    <a:pt x="29" y="0"/>
                  </a:lnTo>
                  <a:lnTo>
                    <a:pt x="14" y="1"/>
                  </a:lnTo>
                  <a:lnTo>
                    <a:pt x="8" y="7"/>
                  </a:lnTo>
                  <a:lnTo>
                    <a:pt x="3" y="12"/>
                  </a:lnTo>
                  <a:lnTo>
                    <a:pt x="1" y="17"/>
                  </a:lnTo>
                  <a:lnTo>
                    <a:pt x="3" y="22"/>
                  </a:lnTo>
                  <a:lnTo>
                    <a:pt x="1" y="26"/>
                  </a:lnTo>
                  <a:lnTo>
                    <a:pt x="3" y="31"/>
                  </a:lnTo>
                  <a:lnTo>
                    <a:pt x="0" y="33"/>
                  </a:lnTo>
                  <a:lnTo>
                    <a:pt x="1" y="40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4357" name="Freeform 25">
              <a:extLst>
                <a:ext uri="{FF2B5EF4-FFF2-40B4-BE49-F238E27FC236}">
                  <a16:creationId xmlns:a16="http://schemas.microsoft.com/office/drawing/2014/main" id="{04BDC710-31CA-4763-8335-B2B7EFD5B563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auto">
            <a:xfrm>
              <a:off x="1543050" y="3746500"/>
              <a:ext cx="522288" cy="450850"/>
            </a:xfrm>
            <a:custGeom>
              <a:avLst/>
              <a:gdLst>
                <a:gd name="T0" fmla="*/ 2147483646 w 63"/>
                <a:gd name="T1" fmla="*/ 2147483646 h 57"/>
                <a:gd name="T2" fmla="*/ 2147483646 w 63"/>
                <a:gd name="T3" fmla="*/ 2147483646 h 57"/>
                <a:gd name="T4" fmla="*/ 2147483646 w 63"/>
                <a:gd name="T5" fmla="*/ 2147483646 h 57"/>
                <a:gd name="T6" fmla="*/ 2147483646 w 63"/>
                <a:gd name="T7" fmla="*/ 2147483646 h 57"/>
                <a:gd name="T8" fmla="*/ 2147483646 w 63"/>
                <a:gd name="T9" fmla="*/ 2147483646 h 57"/>
                <a:gd name="T10" fmla="*/ 2147483646 w 63"/>
                <a:gd name="T11" fmla="*/ 2147483646 h 57"/>
                <a:gd name="T12" fmla="*/ 2147483646 w 63"/>
                <a:gd name="T13" fmla="*/ 2147483646 h 57"/>
                <a:gd name="T14" fmla="*/ 2147483646 w 63"/>
                <a:gd name="T15" fmla="*/ 2147483646 h 57"/>
                <a:gd name="T16" fmla="*/ 2147483646 w 63"/>
                <a:gd name="T17" fmla="*/ 2147483646 h 57"/>
                <a:gd name="T18" fmla="*/ 2147483646 w 63"/>
                <a:gd name="T19" fmla="*/ 2147483646 h 57"/>
                <a:gd name="T20" fmla="*/ 2147483646 w 63"/>
                <a:gd name="T21" fmla="*/ 2147483646 h 57"/>
                <a:gd name="T22" fmla="*/ 2147483646 w 63"/>
                <a:gd name="T23" fmla="*/ 2147483646 h 57"/>
                <a:gd name="T24" fmla="*/ 2147483646 w 63"/>
                <a:gd name="T25" fmla="*/ 2147483646 h 57"/>
                <a:gd name="T26" fmla="*/ 2147483646 w 63"/>
                <a:gd name="T27" fmla="*/ 2147483646 h 57"/>
                <a:gd name="T28" fmla="*/ 2147483646 w 63"/>
                <a:gd name="T29" fmla="*/ 2147483646 h 57"/>
                <a:gd name="T30" fmla="*/ 0 w 63"/>
                <a:gd name="T31" fmla="*/ 2147483646 h 57"/>
                <a:gd name="T32" fmla="*/ 2147483646 w 63"/>
                <a:gd name="T33" fmla="*/ 2147483646 h 57"/>
                <a:gd name="T34" fmla="*/ 2147483646 w 63"/>
                <a:gd name="T35" fmla="*/ 2147483646 h 57"/>
                <a:gd name="T36" fmla="*/ 2147483646 w 63"/>
                <a:gd name="T37" fmla="*/ 2147483646 h 57"/>
                <a:gd name="T38" fmla="*/ 2147483646 w 63"/>
                <a:gd name="T39" fmla="*/ 2147483646 h 57"/>
                <a:gd name="T40" fmla="*/ 2147483646 w 63"/>
                <a:gd name="T41" fmla="*/ 2147483646 h 57"/>
                <a:gd name="T42" fmla="*/ 2147483646 w 63"/>
                <a:gd name="T43" fmla="*/ 2147483646 h 57"/>
                <a:gd name="T44" fmla="*/ 2147483646 w 63"/>
                <a:gd name="T45" fmla="*/ 2147483646 h 57"/>
                <a:gd name="T46" fmla="*/ 2147483646 w 63"/>
                <a:gd name="T47" fmla="*/ 2147483646 h 57"/>
                <a:gd name="T48" fmla="*/ 2147483646 w 63"/>
                <a:gd name="T49" fmla="*/ 2147483646 h 57"/>
                <a:gd name="T50" fmla="*/ 2147483646 w 63"/>
                <a:gd name="T51" fmla="*/ 2147483646 h 57"/>
                <a:gd name="T52" fmla="*/ 2147483646 w 63"/>
                <a:gd name="T53" fmla="*/ 2147483646 h 57"/>
                <a:gd name="T54" fmla="*/ 2147483646 w 63"/>
                <a:gd name="T55" fmla="*/ 2147483646 h 57"/>
                <a:gd name="T56" fmla="*/ 2147483646 w 63"/>
                <a:gd name="T57" fmla="*/ 2147483646 h 57"/>
                <a:gd name="T58" fmla="*/ 2147483646 w 63"/>
                <a:gd name="T59" fmla="*/ 0 h 57"/>
                <a:gd name="T60" fmla="*/ 2147483646 w 63"/>
                <a:gd name="T61" fmla="*/ 2147483646 h 57"/>
                <a:gd name="T62" fmla="*/ 2147483646 w 63"/>
                <a:gd name="T63" fmla="*/ 2147483646 h 57"/>
                <a:gd name="T64" fmla="*/ 2147483646 w 63"/>
                <a:gd name="T65" fmla="*/ 2147483646 h 57"/>
                <a:gd name="T66" fmla="*/ 2147483646 w 63"/>
                <a:gd name="T67" fmla="*/ 2147483646 h 57"/>
                <a:gd name="T68" fmla="*/ 2147483646 w 63"/>
                <a:gd name="T69" fmla="*/ 2147483646 h 57"/>
                <a:gd name="T70" fmla="*/ 2147483646 w 63"/>
                <a:gd name="T71" fmla="*/ 2147483646 h 57"/>
                <a:gd name="T72" fmla="*/ 2147483646 w 63"/>
                <a:gd name="T73" fmla="*/ 2147483646 h 57"/>
                <a:gd name="T74" fmla="*/ 2147483646 w 63"/>
                <a:gd name="T75" fmla="*/ 2147483646 h 57"/>
                <a:gd name="T76" fmla="*/ 2147483646 w 63"/>
                <a:gd name="T77" fmla="*/ 2147483646 h 57"/>
                <a:gd name="T78" fmla="*/ 2147483646 w 63"/>
                <a:gd name="T79" fmla="*/ 2147483646 h 57"/>
                <a:gd name="T80" fmla="*/ 2147483646 w 63"/>
                <a:gd name="T81" fmla="*/ 2147483646 h 57"/>
                <a:gd name="T82" fmla="*/ 2147483646 w 63"/>
                <a:gd name="T83" fmla="*/ 2147483646 h 57"/>
                <a:gd name="T84" fmla="*/ 2147483646 w 63"/>
                <a:gd name="T85" fmla="*/ 2147483646 h 5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3"/>
                <a:gd name="T130" fmla="*/ 0 h 57"/>
                <a:gd name="T131" fmla="*/ 63 w 63"/>
                <a:gd name="T132" fmla="*/ 57 h 5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3" h="57">
                  <a:moveTo>
                    <a:pt x="61" y="35"/>
                  </a:moveTo>
                  <a:lnTo>
                    <a:pt x="58" y="51"/>
                  </a:lnTo>
                  <a:lnTo>
                    <a:pt x="48" y="50"/>
                  </a:lnTo>
                  <a:lnTo>
                    <a:pt x="43" y="49"/>
                  </a:lnTo>
                  <a:lnTo>
                    <a:pt x="38" y="47"/>
                  </a:lnTo>
                  <a:lnTo>
                    <a:pt x="35" y="45"/>
                  </a:lnTo>
                  <a:lnTo>
                    <a:pt x="34" y="42"/>
                  </a:lnTo>
                  <a:lnTo>
                    <a:pt x="26" y="42"/>
                  </a:lnTo>
                  <a:lnTo>
                    <a:pt x="22" y="46"/>
                  </a:lnTo>
                  <a:lnTo>
                    <a:pt x="22" y="49"/>
                  </a:lnTo>
                  <a:lnTo>
                    <a:pt x="19" y="51"/>
                  </a:lnTo>
                  <a:lnTo>
                    <a:pt x="17" y="54"/>
                  </a:lnTo>
                  <a:lnTo>
                    <a:pt x="12" y="55"/>
                  </a:lnTo>
                  <a:lnTo>
                    <a:pt x="9" y="53"/>
                  </a:lnTo>
                  <a:lnTo>
                    <a:pt x="7" y="57"/>
                  </a:lnTo>
                  <a:lnTo>
                    <a:pt x="0" y="51"/>
                  </a:lnTo>
                  <a:lnTo>
                    <a:pt x="5" y="50"/>
                  </a:lnTo>
                  <a:lnTo>
                    <a:pt x="8" y="48"/>
                  </a:lnTo>
                  <a:lnTo>
                    <a:pt x="8" y="43"/>
                  </a:lnTo>
                  <a:lnTo>
                    <a:pt x="10" y="40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9" y="26"/>
                  </a:lnTo>
                  <a:lnTo>
                    <a:pt x="9" y="23"/>
                  </a:lnTo>
                  <a:lnTo>
                    <a:pt x="15" y="21"/>
                  </a:lnTo>
                  <a:lnTo>
                    <a:pt x="21" y="17"/>
                  </a:lnTo>
                  <a:lnTo>
                    <a:pt x="26" y="12"/>
                  </a:lnTo>
                  <a:lnTo>
                    <a:pt x="28" y="9"/>
                  </a:lnTo>
                  <a:lnTo>
                    <a:pt x="29" y="6"/>
                  </a:lnTo>
                  <a:lnTo>
                    <a:pt x="39" y="0"/>
                  </a:lnTo>
                  <a:lnTo>
                    <a:pt x="40" y="2"/>
                  </a:lnTo>
                  <a:lnTo>
                    <a:pt x="42" y="5"/>
                  </a:lnTo>
                  <a:lnTo>
                    <a:pt x="47" y="4"/>
                  </a:lnTo>
                  <a:lnTo>
                    <a:pt x="51" y="7"/>
                  </a:lnTo>
                  <a:lnTo>
                    <a:pt x="58" y="8"/>
                  </a:lnTo>
                  <a:lnTo>
                    <a:pt x="59" y="11"/>
                  </a:lnTo>
                  <a:lnTo>
                    <a:pt x="61" y="14"/>
                  </a:lnTo>
                  <a:lnTo>
                    <a:pt x="59" y="21"/>
                  </a:lnTo>
                  <a:lnTo>
                    <a:pt x="61" y="22"/>
                  </a:lnTo>
                  <a:lnTo>
                    <a:pt x="60" y="26"/>
                  </a:lnTo>
                  <a:lnTo>
                    <a:pt x="63" y="28"/>
                  </a:lnTo>
                  <a:lnTo>
                    <a:pt x="61" y="35"/>
                  </a:lnTo>
                  <a:close/>
                </a:path>
              </a:pathLst>
            </a:custGeom>
            <a:solidFill>
              <a:srgbClr val="FFF6E5"/>
            </a:solidFill>
            <a:ln w="9525" algn="ctr">
              <a:solidFill>
                <a:srgbClr val="98660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dirty="0"/>
            </a:p>
          </p:txBody>
        </p:sp>
      </p:grpSp>
      <p:sp>
        <p:nvSpPr>
          <p:cNvPr id="14358" name="Rectangle 27">
            <a:extLst>
              <a:ext uri="{FF2B5EF4-FFF2-40B4-BE49-F238E27FC236}">
                <a16:creationId xmlns:a16="http://schemas.microsoft.com/office/drawing/2014/main" id="{38C2A54A-F5A1-4E1D-A769-A52484ADE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9475" y="1976609"/>
            <a:ext cx="5535612" cy="160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 b="1" dirty="0">
                <a:latin typeface="+mn-lt"/>
              </a:rPr>
              <a:t>Вилегодский район образован в апреле 1924 года, расположен</a:t>
            </a:r>
            <a:br>
              <a:rPr lang="ru-RU" altLang="ru-RU" sz="1400" b="1" dirty="0">
                <a:latin typeface="+mn-lt"/>
              </a:rPr>
            </a:br>
            <a:r>
              <a:rPr lang="ru-RU" altLang="ru-RU" sz="1400" b="1" dirty="0">
                <a:latin typeface="+mn-lt"/>
              </a:rPr>
              <a:t>на юго-востоке Архангельской области. На севере граничит</a:t>
            </a:r>
            <a:br>
              <a:rPr lang="ru-RU" altLang="ru-RU" sz="1400" b="1" dirty="0">
                <a:latin typeface="+mn-lt"/>
              </a:rPr>
            </a:br>
            <a:r>
              <a:rPr lang="ru-RU" altLang="ru-RU" sz="1400" b="1" dirty="0">
                <a:latin typeface="+mn-lt"/>
              </a:rPr>
              <a:t>с Ленским, на западе – с Котласским районами, на востоке –</a:t>
            </a:r>
            <a:br>
              <a:rPr lang="ru-RU" altLang="ru-RU" sz="1400" b="1" dirty="0">
                <a:latin typeface="+mn-lt"/>
              </a:rPr>
            </a:br>
            <a:r>
              <a:rPr lang="ru-RU" altLang="ru-RU" sz="1400" b="1" dirty="0">
                <a:latin typeface="+mn-lt"/>
              </a:rPr>
              <a:t>с республикой Коми, на юге – с Кировской областью.</a:t>
            </a:r>
          </a:p>
          <a:p>
            <a:pPr eaLnBrk="1" hangingPunct="1"/>
            <a:r>
              <a:rPr lang="ru-RU" altLang="ru-RU" sz="1400" b="1" dirty="0">
                <a:latin typeface="+mn-lt"/>
              </a:rPr>
              <a:t>В 2020 году муниципальные образования Вилегодского района преобразованы в Вилегодский муниципальный округ Архангельской области.</a:t>
            </a:r>
          </a:p>
        </p:txBody>
      </p:sp>
      <p:sp>
        <p:nvSpPr>
          <p:cNvPr id="14359" name="Rectangle 29">
            <a:extLst>
              <a:ext uri="{FF2B5EF4-FFF2-40B4-BE49-F238E27FC236}">
                <a16:creationId xmlns:a16="http://schemas.microsoft.com/office/drawing/2014/main" id="{A9E6BE00-ED1B-43D9-99DD-62E69053C3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513" y="4338638"/>
            <a:ext cx="2232025" cy="2519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b="1" dirty="0">
                <a:latin typeface="+mn-lt"/>
              </a:rPr>
              <a:t>Площадь: </a:t>
            </a:r>
          </a:p>
          <a:p>
            <a:r>
              <a:rPr lang="ru-RU" altLang="ru-RU" dirty="0">
                <a:latin typeface="+mn-lt"/>
              </a:rPr>
              <a:t>4,7 тыс. кв. км </a:t>
            </a:r>
          </a:p>
          <a:p>
            <a:r>
              <a:rPr lang="ru-RU" altLang="ru-RU" dirty="0">
                <a:latin typeface="+mn-lt"/>
              </a:rPr>
              <a:t>(70% - леса)</a:t>
            </a:r>
          </a:p>
          <a:p>
            <a:endParaRPr lang="ru-RU" altLang="ru-RU" dirty="0">
              <a:latin typeface="+mn-lt"/>
            </a:endParaRPr>
          </a:p>
          <a:p>
            <a:r>
              <a:rPr lang="ru-RU" altLang="ru-RU" b="1" dirty="0">
                <a:latin typeface="+mn-lt"/>
              </a:rPr>
              <a:t>Население:</a:t>
            </a:r>
          </a:p>
          <a:p>
            <a:r>
              <a:rPr lang="ru-RU" altLang="ru-RU" b="1" dirty="0">
                <a:solidFill>
                  <a:srgbClr val="FF0000"/>
                </a:solidFill>
                <a:latin typeface="+mn-lt"/>
              </a:rPr>
              <a:t>8,3 </a:t>
            </a:r>
            <a:r>
              <a:rPr lang="ru-RU" altLang="ru-RU" dirty="0">
                <a:latin typeface="+mn-lt"/>
              </a:rPr>
              <a:t>тыс. человек </a:t>
            </a:r>
          </a:p>
          <a:p>
            <a:r>
              <a:rPr lang="ru-RU" altLang="ru-RU" dirty="0">
                <a:latin typeface="+mn-lt"/>
              </a:rPr>
              <a:t>(на 1.01.2021)</a:t>
            </a:r>
          </a:p>
        </p:txBody>
      </p:sp>
      <p:sp>
        <p:nvSpPr>
          <p:cNvPr id="14361" name="AutoShape 26">
            <a:extLst>
              <a:ext uri="{FF2B5EF4-FFF2-40B4-BE49-F238E27FC236}">
                <a16:creationId xmlns:a16="http://schemas.microsoft.com/office/drawing/2014/main" id="{3A722992-E726-4CB0-BB5B-4E90F3B4C5DF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4525848" y="2583840"/>
            <a:ext cx="3021832" cy="5204278"/>
          </a:xfrm>
          <a:prstGeom prst="wedgeRectCallout">
            <a:avLst>
              <a:gd name="adj1" fmla="val -34767"/>
              <a:gd name="adj2" fmla="val 62595"/>
            </a:avLst>
          </a:prstGeom>
          <a:noFill/>
          <a:ln w="9525">
            <a:solidFill>
              <a:srgbClr val="33996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ru-RU" altLang="ru-RU" dirty="0"/>
          </a:p>
        </p:txBody>
      </p:sp>
      <p:pic>
        <p:nvPicPr>
          <p:cNvPr id="27" name="Рисунок 26" descr="Описание: kartavilray">
            <a:extLst>
              <a:ext uri="{FF2B5EF4-FFF2-40B4-BE49-F238E27FC236}">
                <a16:creationId xmlns:a16="http://schemas.microsoft.com/office/drawing/2014/main" id="{C23736E8-E88E-4C5F-BDF0-8EC6D40A9842}"/>
              </a:ext>
            </a:extLst>
          </p:cNvPr>
          <p:cNvPicPr/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06838" y="3803783"/>
            <a:ext cx="4088765" cy="27622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Заголовок 1">
            <a:extLst>
              <a:ext uri="{FF2B5EF4-FFF2-40B4-BE49-F238E27FC236}">
                <a16:creationId xmlns:a16="http://schemas.microsoft.com/office/drawing/2014/main" id="{FB98872E-25BD-4A6F-83EA-3059ADF476E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/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pPr eaLnBrk="1" hangingPunct="1"/>
            <a:r>
              <a:rPr lang="ru-RU" altLang="ru-RU" sz="2600" b="1" cap="none" dirty="0"/>
              <a:t>АДМИНИСТРАТИВНОЕ ДЕЛЕНИЕ МУНИЦИПАЛЬНОГО ОБРАЗОВАНИЯ «ВИЛЕГОДСКИЙ МУНИЦИПАЛЬНЫЙ РАЙОН»</a:t>
            </a:r>
          </a:p>
        </p:txBody>
      </p:sp>
      <p:sp>
        <p:nvSpPr>
          <p:cNvPr id="64" name="Rectangle 77">
            <a:extLst>
              <a:ext uri="{FF2B5EF4-FFF2-40B4-BE49-F238E27FC236}">
                <a16:creationId xmlns:a16="http://schemas.microsoft.com/office/drawing/2014/main" id="{D67DA169-9D0A-4938-A283-33696871E8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9804" y="1960084"/>
            <a:ext cx="5256213" cy="503238"/>
          </a:xfrm>
          <a:prstGeom prst="rect">
            <a:avLst/>
          </a:prstGeom>
          <a:gradFill rotWithShape="1">
            <a:gsLst>
              <a:gs pos="0">
                <a:srgbClr val="669900"/>
              </a:gs>
              <a:gs pos="100000">
                <a:srgbClr val="FFFF66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65" name="Rectangle 75">
            <a:extLst>
              <a:ext uri="{FF2B5EF4-FFF2-40B4-BE49-F238E27FC236}">
                <a16:creationId xmlns:a16="http://schemas.microsoft.com/office/drawing/2014/main" id="{B64D5011-C6BB-419D-BC31-C07D90B161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9804" y="3976209"/>
            <a:ext cx="5256213" cy="503238"/>
          </a:xfrm>
          <a:prstGeom prst="rect">
            <a:avLst/>
          </a:prstGeom>
          <a:gradFill rotWithShape="1">
            <a:gsLst>
              <a:gs pos="0">
                <a:srgbClr val="669900"/>
              </a:gs>
              <a:gs pos="100000">
                <a:srgbClr val="FFFF66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66" name="Rectangle 73">
            <a:extLst>
              <a:ext uri="{FF2B5EF4-FFF2-40B4-BE49-F238E27FC236}">
                <a16:creationId xmlns:a16="http://schemas.microsoft.com/office/drawing/2014/main" id="{F2C8DADE-D95C-4202-BBBA-01879F655D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9804" y="4696934"/>
            <a:ext cx="5256213" cy="503238"/>
          </a:xfrm>
          <a:prstGeom prst="rect">
            <a:avLst/>
          </a:prstGeom>
          <a:gradFill rotWithShape="1">
            <a:gsLst>
              <a:gs pos="0">
                <a:srgbClr val="669900"/>
              </a:gs>
              <a:gs pos="100000">
                <a:srgbClr val="FFFF66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67" name="Rectangle 72">
            <a:extLst>
              <a:ext uri="{FF2B5EF4-FFF2-40B4-BE49-F238E27FC236}">
                <a16:creationId xmlns:a16="http://schemas.microsoft.com/office/drawing/2014/main" id="{F333DA45-8987-4A16-A6DF-82AF4B2418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9804" y="6136797"/>
            <a:ext cx="5256213" cy="503237"/>
          </a:xfrm>
          <a:prstGeom prst="rect">
            <a:avLst/>
          </a:prstGeom>
          <a:gradFill rotWithShape="1">
            <a:gsLst>
              <a:gs pos="0">
                <a:srgbClr val="669900"/>
              </a:gs>
              <a:gs pos="100000">
                <a:srgbClr val="FFFF66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68" name="Rectangle 74">
            <a:extLst>
              <a:ext uri="{FF2B5EF4-FFF2-40B4-BE49-F238E27FC236}">
                <a16:creationId xmlns:a16="http://schemas.microsoft.com/office/drawing/2014/main" id="{1216C5D4-45D8-42FD-898D-5A59C7F806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9804" y="3257072"/>
            <a:ext cx="5256213" cy="503237"/>
          </a:xfrm>
          <a:prstGeom prst="rect">
            <a:avLst/>
          </a:prstGeom>
          <a:gradFill rotWithShape="1">
            <a:gsLst>
              <a:gs pos="0">
                <a:srgbClr val="669900"/>
              </a:gs>
              <a:gs pos="100000">
                <a:srgbClr val="FFFF66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69" name="Rectangle 76">
            <a:extLst>
              <a:ext uri="{FF2B5EF4-FFF2-40B4-BE49-F238E27FC236}">
                <a16:creationId xmlns:a16="http://schemas.microsoft.com/office/drawing/2014/main" id="{DD0FD7A5-F015-41B0-B0E7-54E475C36B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9804" y="2536347"/>
            <a:ext cx="5256213" cy="503237"/>
          </a:xfrm>
          <a:prstGeom prst="rect">
            <a:avLst/>
          </a:prstGeom>
          <a:gradFill rotWithShape="1">
            <a:gsLst>
              <a:gs pos="0">
                <a:srgbClr val="669900"/>
              </a:gs>
              <a:gs pos="100000">
                <a:srgbClr val="FFFF66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70" name="Rectangle 71">
            <a:extLst>
              <a:ext uri="{FF2B5EF4-FFF2-40B4-BE49-F238E27FC236}">
                <a16:creationId xmlns:a16="http://schemas.microsoft.com/office/drawing/2014/main" id="{77AE31B8-B02E-43A2-804E-04496FBDA5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9804" y="5489097"/>
            <a:ext cx="5256213" cy="503237"/>
          </a:xfrm>
          <a:prstGeom prst="rect">
            <a:avLst/>
          </a:prstGeom>
          <a:gradFill rotWithShape="1">
            <a:gsLst>
              <a:gs pos="0">
                <a:srgbClr val="669900"/>
              </a:gs>
              <a:gs pos="100000">
                <a:srgbClr val="FFFF66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72" name="Freeform 7">
            <a:extLst>
              <a:ext uri="{FF2B5EF4-FFF2-40B4-BE49-F238E27FC236}">
                <a16:creationId xmlns:a16="http://schemas.microsoft.com/office/drawing/2014/main" id="{19DDACBB-6970-40E1-B92E-9EE9B8A7CEE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317779" y="3468209"/>
            <a:ext cx="554038" cy="500063"/>
          </a:xfrm>
          <a:custGeom>
            <a:avLst/>
            <a:gdLst>
              <a:gd name="T0" fmla="*/ 434880 w 67"/>
              <a:gd name="T1" fmla="*/ 749905 h 63"/>
              <a:gd name="T2" fmla="*/ 423436 w 67"/>
              <a:gd name="T3" fmla="*/ 737406 h 63"/>
              <a:gd name="T4" fmla="*/ 389104 w 67"/>
              <a:gd name="T5" fmla="*/ 749905 h 63"/>
              <a:gd name="T6" fmla="*/ 354771 w 67"/>
              <a:gd name="T7" fmla="*/ 774902 h 63"/>
              <a:gd name="T8" fmla="*/ 308994 w 67"/>
              <a:gd name="T9" fmla="*/ 787400 h 63"/>
              <a:gd name="T10" fmla="*/ 286106 w 67"/>
              <a:gd name="T11" fmla="*/ 762403 h 63"/>
              <a:gd name="T12" fmla="*/ 274661 w 67"/>
              <a:gd name="T13" fmla="*/ 724908 h 63"/>
              <a:gd name="T14" fmla="*/ 228884 w 67"/>
              <a:gd name="T15" fmla="*/ 724908 h 63"/>
              <a:gd name="T16" fmla="*/ 194552 w 67"/>
              <a:gd name="T17" fmla="*/ 687413 h 63"/>
              <a:gd name="T18" fmla="*/ 171663 w 67"/>
              <a:gd name="T19" fmla="*/ 724908 h 63"/>
              <a:gd name="T20" fmla="*/ 137331 w 67"/>
              <a:gd name="T21" fmla="*/ 699911 h 63"/>
              <a:gd name="T22" fmla="*/ 114442 w 67"/>
              <a:gd name="T23" fmla="*/ 724908 h 63"/>
              <a:gd name="T24" fmla="*/ 68665 w 67"/>
              <a:gd name="T25" fmla="*/ 737406 h 63"/>
              <a:gd name="T26" fmla="*/ 102998 w 67"/>
              <a:gd name="T27" fmla="*/ 724908 h 63"/>
              <a:gd name="T28" fmla="*/ 80110 w 67"/>
              <a:gd name="T29" fmla="*/ 649917 h 63"/>
              <a:gd name="T30" fmla="*/ 45777 w 67"/>
              <a:gd name="T31" fmla="*/ 599924 h 63"/>
              <a:gd name="T32" fmla="*/ 0 w 67"/>
              <a:gd name="T33" fmla="*/ 562429 h 63"/>
              <a:gd name="T34" fmla="*/ 0 w 67"/>
              <a:gd name="T35" fmla="*/ 299962 h 63"/>
              <a:gd name="T36" fmla="*/ 0 w 67"/>
              <a:gd name="T37" fmla="*/ 274965 h 63"/>
              <a:gd name="T38" fmla="*/ 45777 w 67"/>
              <a:gd name="T39" fmla="*/ 287464 h 63"/>
              <a:gd name="T40" fmla="*/ 80110 w 67"/>
              <a:gd name="T41" fmla="*/ 249968 h 63"/>
              <a:gd name="T42" fmla="*/ 80110 w 67"/>
              <a:gd name="T43" fmla="*/ 174978 h 63"/>
              <a:gd name="T44" fmla="*/ 125886 w 67"/>
              <a:gd name="T45" fmla="*/ 174978 h 63"/>
              <a:gd name="T46" fmla="*/ 125886 w 67"/>
              <a:gd name="T47" fmla="*/ 87489 h 63"/>
              <a:gd name="T48" fmla="*/ 160219 w 67"/>
              <a:gd name="T49" fmla="*/ 0 h 63"/>
              <a:gd name="T50" fmla="*/ 160219 w 67"/>
              <a:gd name="T51" fmla="*/ 0 h 63"/>
              <a:gd name="T52" fmla="*/ 183108 w 67"/>
              <a:gd name="T53" fmla="*/ 0 h 63"/>
              <a:gd name="T54" fmla="*/ 194552 w 67"/>
              <a:gd name="T55" fmla="*/ 49994 h 63"/>
              <a:gd name="T56" fmla="*/ 263217 w 67"/>
              <a:gd name="T57" fmla="*/ 87489 h 63"/>
              <a:gd name="T58" fmla="*/ 251773 w 67"/>
              <a:gd name="T59" fmla="*/ 187476 h 63"/>
              <a:gd name="T60" fmla="*/ 331882 w 67"/>
              <a:gd name="T61" fmla="*/ 249968 h 63"/>
              <a:gd name="T62" fmla="*/ 411992 w 67"/>
              <a:gd name="T63" fmla="*/ 249968 h 63"/>
              <a:gd name="T64" fmla="*/ 560767 w 67"/>
              <a:gd name="T65" fmla="*/ 199975 h 63"/>
              <a:gd name="T66" fmla="*/ 766763 w 67"/>
              <a:gd name="T67" fmla="*/ 199975 h 63"/>
              <a:gd name="T68" fmla="*/ 755319 w 67"/>
              <a:gd name="T69" fmla="*/ 224971 h 63"/>
              <a:gd name="T70" fmla="*/ 732430 w 67"/>
              <a:gd name="T71" fmla="*/ 262467 h 63"/>
              <a:gd name="T72" fmla="*/ 675209 w 67"/>
              <a:gd name="T73" fmla="*/ 324959 h 63"/>
              <a:gd name="T74" fmla="*/ 606544 w 67"/>
              <a:gd name="T75" fmla="*/ 374952 h 63"/>
              <a:gd name="T76" fmla="*/ 537878 w 67"/>
              <a:gd name="T77" fmla="*/ 399949 h 63"/>
              <a:gd name="T78" fmla="*/ 537878 w 67"/>
              <a:gd name="T79" fmla="*/ 437445 h 63"/>
              <a:gd name="T80" fmla="*/ 503546 w 67"/>
              <a:gd name="T81" fmla="*/ 487438 h 63"/>
              <a:gd name="T82" fmla="*/ 503546 w 67"/>
              <a:gd name="T83" fmla="*/ 562429 h 63"/>
              <a:gd name="T84" fmla="*/ 549323 w 67"/>
              <a:gd name="T85" fmla="*/ 612422 h 63"/>
              <a:gd name="T86" fmla="*/ 526434 w 67"/>
              <a:gd name="T87" fmla="*/ 649917 h 63"/>
              <a:gd name="T88" fmla="*/ 526434 w 67"/>
              <a:gd name="T89" fmla="*/ 712410 h 63"/>
              <a:gd name="T90" fmla="*/ 492102 w 67"/>
              <a:gd name="T91" fmla="*/ 737406 h 63"/>
              <a:gd name="T92" fmla="*/ 434880 w 67"/>
              <a:gd name="T93" fmla="*/ 749905 h 6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67"/>
              <a:gd name="T142" fmla="*/ 0 h 63"/>
              <a:gd name="T143" fmla="*/ 67 w 67"/>
              <a:gd name="T144" fmla="*/ 63 h 63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67" h="63">
                <a:moveTo>
                  <a:pt x="38" y="60"/>
                </a:moveTo>
                <a:lnTo>
                  <a:pt x="37" y="59"/>
                </a:lnTo>
                <a:lnTo>
                  <a:pt x="34" y="60"/>
                </a:lnTo>
                <a:lnTo>
                  <a:pt x="31" y="62"/>
                </a:lnTo>
                <a:lnTo>
                  <a:pt x="27" y="63"/>
                </a:lnTo>
                <a:lnTo>
                  <a:pt x="25" y="61"/>
                </a:lnTo>
                <a:lnTo>
                  <a:pt x="24" y="58"/>
                </a:lnTo>
                <a:lnTo>
                  <a:pt x="20" y="58"/>
                </a:lnTo>
                <a:lnTo>
                  <a:pt x="17" y="55"/>
                </a:lnTo>
                <a:lnTo>
                  <a:pt x="15" y="58"/>
                </a:lnTo>
                <a:lnTo>
                  <a:pt x="12" y="56"/>
                </a:lnTo>
                <a:lnTo>
                  <a:pt x="10" y="58"/>
                </a:lnTo>
                <a:lnTo>
                  <a:pt x="6" y="59"/>
                </a:lnTo>
                <a:lnTo>
                  <a:pt x="9" y="58"/>
                </a:lnTo>
                <a:lnTo>
                  <a:pt x="7" y="52"/>
                </a:lnTo>
                <a:lnTo>
                  <a:pt x="4" y="48"/>
                </a:lnTo>
                <a:lnTo>
                  <a:pt x="0" y="45"/>
                </a:lnTo>
                <a:lnTo>
                  <a:pt x="0" y="24"/>
                </a:lnTo>
                <a:lnTo>
                  <a:pt x="0" y="22"/>
                </a:lnTo>
                <a:lnTo>
                  <a:pt x="4" y="23"/>
                </a:lnTo>
                <a:lnTo>
                  <a:pt x="7" y="20"/>
                </a:lnTo>
                <a:lnTo>
                  <a:pt x="7" y="14"/>
                </a:lnTo>
                <a:lnTo>
                  <a:pt x="11" y="14"/>
                </a:lnTo>
                <a:lnTo>
                  <a:pt x="11" y="7"/>
                </a:lnTo>
                <a:lnTo>
                  <a:pt x="14" y="0"/>
                </a:lnTo>
                <a:lnTo>
                  <a:pt x="16" y="0"/>
                </a:lnTo>
                <a:lnTo>
                  <a:pt x="17" y="4"/>
                </a:lnTo>
                <a:lnTo>
                  <a:pt x="23" y="7"/>
                </a:lnTo>
                <a:lnTo>
                  <a:pt x="22" y="15"/>
                </a:lnTo>
                <a:lnTo>
                  <a:pt x="29" y="20"/>
                </a:lnTo>
                <a:lnTo>
                  <a:pt x="36" y="20"/>
                </a:lnTo>
                <a:lnTo>
                  <a:pt x="49" y="16"/>
                </a:lnTo>
                <a:lnTo>
                  <a:pt x="67" y="16"/>
                </a:lnTo>
                <a:lnTo>
                  <a:pt x="66" y="18"/>
                </a:lnTo>
                <a:lnTo>
                  <a:pt x="64" y="21"/>
                </a:lnTo>
                <a:lnTo>
                  <a:pt x="59" y="26"/>
                </a:lnTo>
                <a:lnTo>
                  <a:pt x="53" y="30"/>
                </a:lnTo>
                <a:lnTo>
                  <a:pt x="47" y="32"/>
                </a:lnTo>
                <a:lnTo>
                  <a:pt x="47" y="35"/>
                </a:lnTo>
                <a:lnTo>
                  <a:pt x="44" y="39"/>
                </a:lnTo>
                <a:lnTo>
                  <a:pt x="44" y="45"/>
                </a:lnTo>
                <a:lnTo>
                  <a:pt x="48" y="49"/>
                </a:lnTo>
                <a:lnTo>
                  <a:pt x="46" y="52"/>
                </a:lnTo>
                <a:lnTo>
                  <a:pt x="46" y="57"/>
                </a:lnTo>
                <a:lnTo>
                  <a:pt x="43" y="59"/>
                </a:lnTo>
                <a:lnTo>
                  <a:pt x="38" y="60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73" name="Freeform 8">
            <a:extLst>
              <a:ext uri="{FF2B5EF4-FFF2-40B4-BE49-F238E27FC236}">
                <a16:creationId xmlns:a16="http://schemas.microsoft.com/office/drawing/2014/main" id="{F0D0E6F2-13FF-4450-9392-58C0E4A53D74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2109942" y="2028347"/>
            <a:ext cx="1139825" cy="547687"/>
          </a:xfrm>
          <a:custGeom>
            <a:avLst/>
            <a:gdLst>
              <a:gd name="T0" fmla="*/ 1234937 w 138"/>
              <a:gd name="T1" fmla="*/ 24986 h 69"/>
              <a:gd name="T2" fmla="*/ 1246371 w 138"/>
              <a:gd name="T3" fmla="*/ 174901 h 69"/>
              <a:gd name="T4" fmla="*/ 1406456 w 138"/>
              <a:gd name="T5" fmla="*/ 174901 h 69"/>
              <a:gd name="T6" fmla="*/ 1406456 w 138"/>
              <a:gd name="T7" fmla="*/ 237366 h 69"/>
              <a:gd name="T8" fmla="*/ 1440759 w 138"/>
              <a:gd name="T9" fmla="*/ 312324 h 69"/>
              <a:gd name="T10" fmla="*/ 1475064 w 138"/>
              <a:gd name="T11" fmla="*/ 387281 h 69"/>
              <a:gd name="T12" fmla="*/ 1509367 w 138"/>
              <a:gd name="T13" fmla="*/ 424760 h 69"/>
              <a:gd name="T14" fmla="*/ 1577975 w 138"/>
              <a:gd name="T15" fmla="*/ 487225 h 69"/>
              <a:gd name="T16" fmla="*/ 1520802 w 138"/>
              <a:gd name="T17" fmla="*/ 687112 h 69"/>
              <a:gd name="T18" fmla="*/ 1452194 w 138"/>
              <a:gd name="T19" fmla="*/ 687112 h 69"/>
              <a:gd name="T20" fmla="*/ 1395021 w 138"/>
              <a:gd name="T21" fmla="*/ 662126 h 69"/>
              <a:gd name="T22" fmla="*/ 1337848 w 138"/>
              <a:gd name="T23" fmla="*/ 624647 h 69"/>
              <a:gd name="T24" fmla="*/ 1292110 w 138"/>
              <a:gd name="T25" fmla="*/ 724591 h 69"/>
              <a:gd name="T26" fmla="*/ 1234937 w 138"/>
              <a:gd name="T27" fmla="*/ 699605 h 69"/>
              <a:gd name="T28" fmla="*/ 1189198 w 138"/>
              <a:gd name="T29" fmla="*/ 699605 h 69"/>
              <a:gd name="T30" fmla="*/ 1154895 w 138"/>
              <a:gd name="T31" fmla="*/ 724591 h 69"/>
              <a:gd name="T32" fmla="*/ 1132025 w 138"/>
              <a:gd name="T33" fmla="*/ 762069 h 69"/>
              <a:gd name="T34" fmla="*/ 1120591 w 138"/>
              <a:gd name="T35" fmla="*/ 787055 h 69"/>
              <a:gd name="T36" fmla="*/ 1051983 w 138"/>
              <a:gd name="T37" fmla="*/ 799548 h 69"/>
              <a:gd name="T38" fmla="*/ 1017679 w 138"/>
              <a:gd name="T39" fmla="*/ 799548 h 69"/>
              <a:gd name="T40" fmla="*/ 1017679 w 138"/>
              <a:gd name="T41" fmla="*/ 862013 h 69"/>
              <a:gd name="T42" fmla="*/ 937637 w 138"/>
              <a:gd name="T43" fmla="*/ 837027 h 69"/>
              <a:gd name="T44" fmla="*/ 937637 w 138"/>
              <a:gd name="T45" fmla="*/ 774562 h 69"/>
              <a:gd name="T46" fmla="*/ 857595 w 138"/>
              <a:gd name="T47" fmla="*/ 762069 h 69"/>
              <a:gd name="T48" fmla="*/ 663207 w 138"/>
              <a:gd name="T49" fmla="*/ 749576 h 69"/>
              <a:gd name="T50" fmla="*/ 503122 w 138"/>
              <a:gd name="T51" fmla="*/ 762069 h 69"/>
              <a:gd name="T52" fmla="*/ 445949 w 138"/>
              <a:gd name="T53" fmla="*/ 787055 h 69"/>
              <a:gd name="T54" fmla="*/ 377342 w 138"/>
              <a:gd name="T55" fmla="*/ 787055 h 69"/>
              <a:gd name="T56" fmla="*/ 343038 w 138"/>
              <a:gd name="T57" fmla="*/ 774562 h 69"/>
              <a:gd name="T58" fmla="*/ 297300 w 138"/>
              <a:gd name="T59" fmla="*/ 787055 h 69"/>
              <a:gd name="T60" fmla="*/ 251561 w 138"/>
              <a:gd name="T61" fmla="*/ 812041 h 69"/>
              <a:gd name="T62" fmla="*/ 251561 w 138"/>
              <a:gd name="T63" fmla="*/ 812041 h 69"/>
              <a:gd name="T64" fmla="*/ 240127 w 138"/>
              <a:gd name="T65" fmla="*/ 762069 h 69"/>
              <a:gd name="T66" fmla="*/ 217257 w 138"/>
              <a:gd name="T67" fmla="*/ 674619 h 69"/>
              <a:gd name="T68" fmla="*/ 171519 w 138"/>
              <a:gd name="T69" fmla="*/ 637140 h 69"/>
              <a:gd name="T70" fmla="*/ 125781 w 138"/>
              <a:gd name="T71" fmla="*/ 612154 h 69"/>
              <a:gd name="T72" fmla="*/ 102911 w 138"/>
              <a:gd name="T73" fmla="*/ 587168 h 69"/>
              <a:gd name="T74" fmla="*/ 91477 w 138"/>
              <a:gd name="T75" fmla="*/ 512211 h 69"/>
              <a:gd name="T76" fmla="*/ 57173 w 138"/>
              <a:gd name="T77" fmla="*/ 487225 h 69"/>
              <a:gd name="T78" fmla="*/ 80042 w 138"/>
              <a:gd name="T79" fmla="*/ 437253 h 69"/>
              <a:gd name="T80" fmla="*/ 80042 w 138"/>
              <a:gd name="T81" fmla="*/ 374788 h 69"/>
              <a:gd name="T82" fmla="*/ 0 w 138"/>
              <a:gd name="T83" fmla="*/ 287338 h 69"/>
              <a:gd name="T84" fmla="*/ 0 w 138"/>
              <a:gd name="T85" fmla="*/ 87451 h 69"/>
              <a:gd name="T86" fmla="*/ 228692 w 138"/>
              <a:gd name="T87" fmla="*/ 87451 h 69"/>
              <a:gd name="T88" fmla="*/ 297300 w 138"/>
              <a:gd name="T89" fmla="*/ 0 h 69"/>
              <a:gd name="T90" fmla="*/ 445949 w 138"/>
              <a:gd name="T91" fmla="*/ 0 h 69"/>
              <a:gd name="T92" fmla="*/ 640338 w 138"/>
              <a:gd name="T93" fmla="*/ 37479 h 69"/>
              <a:gd name="T94" fmla="*/ 1246371 w 138"/>
              <a:gd name="T95" fmla="*/ 24986 h 69"/>
              <a:gd name="T96" fmla="*/ 1234937 w 138"/>
              <a:gd name="T97" fmla="*/ 24986 h 6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38"/>
              <a:gd name="T148" fmla="*/ 0 h 69"/>
              <a:gd name="T149" fmla="*/ 138 w 138"/>
              <a:gd name="T150" fmla="*/ 69 h 6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38" h="69">
                <a:moveTo>
                  <a:pt x="108" y="2"/>
                </a:moveTo>
                <a:lnTo>
                  <a:pt x="109" y="14"/>
                </a:lnTo>
                <a:lnTo>
                  <a:pt x="123" y="14"/>
                </a:lnTo>
                <a:lnTo>
                  <a:pt x="123" y="19"/>
                </a:lnTo>
                <a:lnTo>
                  <a:pt x="126" y="25"/>
                </a:lnTo>
                <a:lnTo>
                  <a:pt x="129" y="31"/>
                </a:lnTo>
                <a:lnTo>
                  <a:pt x="132" y="34"/>
                </a:lnTo>
                <a:lnTo>
                  <a:pt x="138" y="39"/>
                </a:lnTo>
                <a:lnTo>
                  <a:pt x="133" y="55"/>
                </a:lnTo>
                <a:lnTo>
                  <a:pt x="127" y="55"/>
                </a:lnTo>
                <a:lnTo>
                  <a:pt x="122" y="53"/>
                </a:lnTo>
                <a:lnTo>
                  <a:pt x="117" y="50"/>
                </a:lnTo>
                <a:lnTo>
                  <a:pt x="113" y="58"/>
                </a:lnTo>
                <a:lnTo>
                  <a:pt x="108" y="56"/>
                </a:lnTo>
                <a:lnTo>
                  <a:pt x="104" y="56"/>
                </a:lnTo>
                <a:lnTo>
                  <a:pt x="101" y="58"/>
                </a:lnTo>
                <a:lnTo>
                  <a:pt x="99" y="61"/>
                </a:lnTo>
                <a:lnTo>
                  <a:pt x="98" y="63"/>
                </a:lnTo>
                <a:lnTo>
                  <a:pt x="92" y="64"/>
                </a:lnTo>
                <a:lnTo>
                  <a:pt x="89" y="64"/>
                </a:lnTo>
                <a:lnTo>
                  <a:pt x="89" y="69"/>
                </a:lnTo>
                <a:lnTo>
                  <a:pt x="82" y="67"/>
                </a:lnTo>
                <a:lnTo>
                  <a:pt x="82" y="62"/>
                </a:lnTo>
                <a:lnTo>
                  <a:pt x="75" y="61"/>
                </a:lnTo>
                <a:lnTo>
                  <a:pt x="58" y="60"/>
                </a:lnTo>
                <a:lnTo>
                  <a:pt x="44" y="61"/>
                </a:lnTo>
                <a:lnTo>
                  <a:pt x="39" y="63"/>
                </a:lnTo>
                <a:lnTo>
                  <a:pt x="33" y="63"/>
                </a:lnTo>
                <a:lnTo>
                  <a:pt x="30" y="62"/>
                </a:lnTo>
                <a:lnTo>
                  <a:pt x="26" y="63"/>
                </a:lnTo>
                <a:lnTo>
                  <a:pt x="22" y="65"/>
                </a:lnTo>
                <a:lnTo>
                  <a:pt x="21" y="61"/>
                </a:lnTo>
                <a:lnTo>
                  <a:pt x="19" y="54"/>
                </a:lnTo>
                <a:lnTo>
                  <a:pt x="15" y="51"/>
                </a:lnTo>
                <a:lnTo>
                  <a:pt x="11" y="49"/>
                </a:lnTo>
                <a:lnTo>
                  <a:pt x="9" y="47"/>
                </a:lnTo>
                <a:lnTo>
                  <a:pt x="8" y="41"/>
                </a:lnTo>
                <a:lnTo>
                  <a:pt x="5" y="39"/>
                </a:lnTo>
                <a:lnTo>
                  <a:pt x="7" y="35"/>
                </a:lnTo>
                <a:lnTo>
                  <a:pt x="7" y="30"/>
                </a:lnTo>
                <a:lnTo>
                  <a:pt x="0" y="23"/>
                </a:lnTo>
                <a:lnTo>
                  <a:pt x="0" y="7"/>
                </a:lnTo>
                <a:lnTo>
                  <a:pt x="20" y="7"/>
                </a:lnTo>
                <a:lnTo>
                  <a:pt x="26" y="0"/>
                </a:lnTo>
                <a:lnTo>
                  <a:pt x="39" y="0"/>
                </a:lnTo>
                <a:lnTo>
                  <a:pt x="56" y="3"/>
                </a:lnTo>
                <a:lnTo>
                  <a:pt x="109" y="2"/>
                </a:lnTo>
                <a:lnTo>
                  <a:pt x="108" y="2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74" name="Freeform 9">
            <a:extLst>
              <a:ext uri="{FF2B5EF4-FFF2-40B4-BE49-F238E27FC236}">
                <a16:creationId xmlns:a16="http://schemas.microsoft.com/office/drawing/2014/main" id="{B95FB16F-D96C-434C-B94C-B1A5956B9385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2541742" y="3180872"/>
            <a:ext cx="438150" cy="601662"/>
          </a:xfrm>
          <a:custGeom>
            <a:avLst/>
            <a:gdLst>
              <a:gd name="T0" fmla="*/ 194514 w 53"/>
              <a:gd name="T1" fmla="*/ 324226 h 76"/>
              <a:gd name="T2" fmla="*/ 240282 w 53"/>
              <a:gd name="T3" fmla="*/ 324226 h 76"/>
              <a:gd name="T4" fmla="*/ 228840 w 53"/>
              <a:gd name="T5" fmla="*/ 199524 h 76"/>
              <a:gd name="T6" fmla="*/ 263166 w 53"/>
              <a:gd name="T7" fmla="*/ 124702 h 76"/>
              <a:gd name="T8" fmla="*/ 263166 w 53"/>
              <a:gd name="T9" fmla="*/ 74821 h 76"/>
              <a:gd name="T10" fmla="*/ 343259 w 53"/>
              <a:gd name="T11" fmla="*/ 62351 h 76"/>
              <a:gd name="T12" fmla="*/ 389027 w 53"/>
              <a:gd name="T13" fmla="*/ 0 h 76"/>
              <a:gd name="T14" fmla="*/ 606425 w 53"/>
              <a:gd name="T15" fmla="*/ 49881 h 76"/>
              <a:gd name="T16" fmla="*/ 400469 w 53"/>
              <a:gd name="T17" fmla="*/ 760684 h 76"/>
              <a:gd name="T18" fmla="*/ 503447 w 53"/>
              <a:gd name="T19" fmla="*/ 823036 h 76"/>
              <a:gd name="T20" fmla="*/ 469121 w 53"/>
              <a:gd name="T21" fmla="*/ 947738 h 76"/>
              <a:gd name="T22" fmla="*/ 377585 w 53"/>
              <a:gd name="T23" fmla="*/ 897857 h 76"/>
              <a:gd name="T24" fmla="*/ 274608 w 53"/>
              <a:gd name="T25" fmla="*/ 860446 h 76"/>
              <a:gd name="T26" fmla="*/ 160188 w 53"/>
              <a:gd name="T27" fmla="*/ 860446 h 76"/>
              <a:gd name="T28" fmla="*/ 80094 w 53"/>
              <a:gd name="T29" fmla="*/ 860446 h 76"/>
              <a:gd name="T30" fmla="*/ 45768 w 53"/>
              <a:gd name="T31" fmla="*/ 897857 h 76"/>
              <a:gd name="T32" fmla="*/ 34326 w 53"/>
              <a:gd name="T33" fmla="*/ 835506 h 76"/>
              <a:gd name="T34" fmla="*/ 80094 w 53"/>
              <a:gd name="T35" fmla="*/ 785625 h 76"/>
              <a:gd name="T36" fmla="*/ 11442 w 53"/>
              <a:gd name="T37" fmla="*/ 735744 h 76"/>
              <a:gd name="T38" fmla="*/ 0 w 53"/>
              <a:gd name="T39" fmla="*/ 673393 h 76"/>
              <a:gd name="T40" fmla="*/ 114420 w 53"/>
              <a:gd name="T41" fmla="*/ 461399 h 76"/>
              <a:gd name="T42" fmla="*/ 148746 w 53"/>
              <a:gd name="T43" fmla="*/ 436458 h 76"/>
              <a:gd name="T44" fmla="*/ 183072 w 53"/>
              <a:gd name="T45" fmla="*/ 374107 h 76"/>
              <a:gd name="T46" fmla="*/ 194514 w 53"/>
              <a:gd name="T47" fmla="*/ 324226 h 7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53"/>
              <a:gd name="T73" fmla="*/ 0 h 76"/>
              <a:gd name="T74" fmla="*/ 53 w 53"/>
              <a:gd name="T75" fmla="*/ 76 h 7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53" h="76">
                <a:moveTo>
                  <a:pt x="17" y="26"/>
                </a:moveTo>
                <a:lnTo>
                  <a:pt x="21" y="26"/>
                </a:lnTo>
                <a:lnTo>
                  <a:pt x="20" y="16"/>
                </a:lnTo>
                <a:lnTo>
                  <a:pt x="23" y="10"/>
                </a:lnTo>
                <a:lnTo>
                  <a:pt x="23" y="6"/>
                </a:lnTo>
                <a:lnTo>
                  <a:pt x="30" y="5"/>
                </a:lnTo>
                <a:lnTo>
                  <a:pt x="34" y="0"/>
                </a:lnTo>
                <a:lnTo>
                  <a:pt x="53" y="4"/>
                </a:lnTo>
                <a:lnTo>
                  <a:pt x="35" y="61"/>
                </a:lnTo>
                <a:lnTo>
                  <a:pt x="44" y="66"/>
                </a:lnTo>
                <a:lnTo>
                  <a:pt x="41" y="76"/>
                </a:lnTo>
                <a:lnTo>
                  <a:pt x="33" y="72"/>
                </a:lnTo>
                <a:lnTo>
                  <a:pt x="24" y="69"/>
                </a:lnTo>
                <a:lnTo>
                  <a:pt x="14" y="69"/>
                </a:lnTo>
                <a:lnTo>
                  <a:pt x="7" y="69"/>
                </a:lnTo>
                <a:lnTo>
                  <a:pt x="4" y="72"/>
                </a:lnTo>
                <a:lnTo>
                  <a:pt x="3" y="67"/>
                </a:lnTo>
                <a:lnTo>
                  <a:pt x="7" y="63"/>
                </a:lnTo>
                <a:lnTo>
                  <a:pt x="1" y="59"/>
                </a:lnTo>
                <a:lnTo>
                  <a:pt x="0" y="54"/>
                </a:lnTo>
                <a:lnTo>
                  <a:pt x="10" y="37"/>
                </a:lnTo>
                <a:lnTo>
                  <a:pt x="13" y="35"/>
                </a:lnTo>
                <a:lnTo>
                  <a:pt x="16" y="30"/>
                </a:lnTo>
                <a:lnTo>
                  <a:pt x="17" y="26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75" name="Freeform 10">
            <a:extLst>
              <a:ext uri="{FF2B5EF4-FFF2-40B4-BE49-F238E27FC236}">
                <a16:creationId xmlns:a16="http://schemas.microsoft.com/office/drawing/2014/main" id="{01EB1D1B-C1D1-4D10-AC2A-F45751F6F10F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2498879" y="3744434"/>
            <a:ext cx="403225" cy="300038"/>
          </a:xfrm>
          <a:custGeom>
            <a:avLst/>
            <a:gdLst>
              <a:gd name="T0" fmla="*/ 558800 w 49"/>
              <a:gd name="T1" fmla="*/ 87438 h 38"/>
              <a:gd name="T2" fmla="*/ 535992 w 49"/>
              <a:gd name="T3" fmla="*/ 162385 h 38"/>
              <a:gd name="T4" fmla="*/ 501780 w 49"/>
              <a:gd name="T5" fmla="*/ 249823 h 38"/>
              <a:gd name="T6" fmla="*/ 433355 w 49"/>
              <a:gd name="T7" fmla="*/ 249823 h 38"/>
              <a:gd name="T8" fmla="*/ 364931 w 49"/>
              <a:gd name="T9" fmla="*/ 287296 h 38"/>
              <a:gd name="T10" fmla="*/ 307910 w 49"/>
              <a:gd name="T11" fmla="*/ 324769 h 38"/>
              <a:gd name="T12" fmla="*/ 273698 w 49"/>
              <a:gd name="T13" fmla="*/ 362243 h 38"/>
              <a:gd name="T14" fmla="*/ 262294 w 49"/>
              <a:gd name="T15" fmla="*/ 412207 h 38"/>
              <a:gd name="T16" fmla="*/ 239486 w 49"/>
              <a:gd name="T17" fmla="*/ 474663 h 38"/>
              <a:gd name="T18" fmla="*/ 148253 w 49"/>
              <a:gd name="T19" fmla="*/ 437190 h 38"/>
              <a:gd name="T20" fmla="*/ 148253 w 49"/>
              <a:gd name="T21" fmla="*/ 349752 h 38"/>
              <a:gd name="T22" fmla="*/ 68424 w 49"/>
              <a:gd name="T23" fmla="*/ 324769 h 38"/>
              <a:gd name="T24" fmla="*/ 79829 w 49"/>
              <a:gd name="T25" fmla="*/ 287296 h 38"/>
              <a:gd name="T26" fmla="*/ 0 w 49"/>
              <a:gd name="T27" fmla="*/ 237332 h 38"/>
              <a:gd name="T28" fmla="*/ 57020 w 49"/>
              <a:gd name="T29" fmla="*/ 162385 h 38"/>
              <a:gd name="T30" fmla="*/ 68424 w 49"/>
              <a:gd name="T31" fmla="*/ 112420 h 38"/>
              <a:gd name="T32" fmla="*/ 136849 w 49"/>
              <a:gd name="T33" fmla="*/ 37473 h 38"/>
              <a:gd name="T34" fmla="*/ 171061 w 49"/>
              <a:gd name="T35" fmla="*/ 0 h 38"/>
              <a:gd name="T36" fmla="*/ 250890 w 49"/>
              <a:gd name="T37" fmla="*/ 0 h 38"/>
              <a:gd name="T38" fmla="*/ 364931 w 49"/>
              <a:gd name="T39" fmla="*/ 0 h 38"/>
              <a:gd name="T40" fmla="*/ 467567 w 49"/>
              <a:gd name="T41" fmla="*/ 37473 h 38"/>
              <a:gd name="T42" fmla="*/ 558800 w 49"/>
              <a:gd name="T43" fmla="*/ 87438 h 38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49"/>
              <a:gd name="T67" fmla="*/ 0 h 38"/>
              <a:gd name="T68" fmla="*/ 49 w 49"/>
              <a:gd name="T69" fmla="*/ 38 h 38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49" h="38">
                <a:moveTo>
                  <a:pt x="49" y="7"/>
                </a:moveTo>
                <a:lnTo>
                  <a:pt x="47" y="13"/>
                </a:lnTo>
                <a:lnTo>
                  <a:pt x="44" y="20"/>
                </a:lnTo>
                <a:lnTo>
                  <a:pt x="38" y="20"/>
                </a:lnTo>
                <a:lnTo>
                  <a:pt x="32" y="23"/>
                </a:lnTo>
                <a:lnTo>
                  <a:pt x="27" y="26"/>
                </a:lnTo>
                <a:lnTo>
                  <a:pt x="24" y="29"/>
                </a:lnTo>
                <a:lnTo>
                  <a:pt x="23" y="33"/>
                </a:lnTo>
                <a:lnTo>
                  <a:pt x="21" y="38"/>
                </a:lnTo>
                <a:lnTo>
                  <a:pt x="13" y="35"/>
                </a:lnTo>
                <a:lnTo>
                  <a:pt x="13" y="28"/>
                </a:lnTo>
                <a:lnTo>
                  <a:pt x="6" y="26"/>
                </a:lnTo>
                <a:lnTo>
                  <a:pt x="7" y="23"/>
                </a:lnTo>
                <a:lnTo>
                  <a:pt x="0" y="19"/>
                </a:lnTo>
                <a:lnTo>
                  <a:pt x="5" y="13"/>
                </a:lnTo>
                <a:lnTo>
                  <a:pt x="6" y="9"/>
                </a:lnTo>
                <a:lnTo>
                  <a:pt x="12" y="3"/>
                </a:lnTo>
                <a:lnTo>
                  <a:pt x="15" y="0"/>
                </a:lnTo>
                <a:lnTo>
                  <a:pt x="22" y="0"/>
                </a:lnTo>
                <a:lnTo>
                  <a:pt x="32" y="0"/>
                </a:lnTo>
                <a:lnTo>
                  <a:pt x="41" y="3"/>
                </a:lnTo>
                <a:lnTo>
                  <a:pt x="49" y="7"/>
                </a:lnTo>
                <a:close/>
              </a:path>
            </a:pathLst>
          </a:custGeom>
          <a:solidFill>
            <a:srgbClr val="669900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76" name="Freeform 11">
            <a:extLst>
              <a:ext uri="{FF2B5EF4-FFF2-40B4-BE49-F238E27FC236}">
                <a16:creationId xmlns:a16="http://schemas.microsoft.com/office/drawing/2014/main" id="{50640EB0-16E6-4FEF-BBB0-CEFEC485F6B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auto">
          <a:xfrm>
            <a:off x="2036917" y="3396772"/>
            <a:ext cx="685800" cy="430212"/>
          </a:xfrm>
          <a:custGeom>
            <a:avLst/>
            <a:gdLst>
              <a:gd name="T0" fmla="*/ 698864 w 83"/>
              <a:gd name="T1" fmla="*/ 0 h 54"/>
              <a:gd name="T2" fmla="*/ 744691 w 83"/>
              <a:gd name="T3" fmla="*/ 0 h 54"/>
              <a:gd name="T4" fmla="*/ 744691 w 83"/>
              <a:gd name="T5" fmla="*/ 87871 h 54"/>
              <a:gd name="T6" fmla="*/ 801975 w 83"/>
              <a:gd name="T7" fmla="*/ 75318 h 54"/>
              <a:gd name="T8" fmla="*/ 824888 w 83"/>
              <a:gd name="T9" fmla="*/ 12553 h 54"/>
              <a:gd name="T10" fmla="*/ 950913 w 83"/>
              <a:gd name="T11" fmla="*/ 12553 h 54"/>
              <a:gd name="T12" fmla="*/ 939456 w 83"/>
              <a:gd name="T13" fmla="*/ 62765 h 54"/>
              <a:gd name="T14" fmla="*/ 905086 w 83"/>
              <a:gd name="T15" fmla="*/ 125530 h 54"/>
              <a:gd name="T16" fmla="*/ 870716 w 83"/>
              <a:gd name="T17" fmla="*/ 150636 h 54"/>
              <a:gd name="T18" fmla="*/ 756148 w 83"/>
              <a:gd name="T19" fmla="*/ 364037 h 54"/>
              <a:gd name="T20" fmla="*/ 710320 w 83"/>
              <a:gd name="T21" fmla="*/ 351484 h 54"/>
              <a:gd name="T22" fmla="*/ 630123 w 83"/>
              <a:gd name="T23" fmla="*/ 401696 h 54"/>
              <a:gd name="T24" fmla="*/ 618666 w 83"/>
              <a:gd name="T25" fmla="*/ 489567 h 54"/>
              <a:gd name="T26" fmla="*/ 549926 w 83"/>
              <a:gd name="T27" fmla="*/ 577438 h 54"/>
              <a:gd name="T28" fmla="*/ 504098 w 83"/>
              <a:gd name="T29" fmla="*/ 602544 h 54"/>
              <a:gd name="T30" fmla="*/ 458271 w 83"/>
              <a:gd name="T31" fmla="*/ 602544 h 54"/>
              <a:gd name="T32" fmla="*/ 400987 w 83"/>
              <a:gd name="T33" fmla="*/ 552332 h 54"/>
              <a:gd name="T34" fmla="*/ 343703 w 83"/>
              <a:gd name="T35" fmla="*/ 552332 h 54"/>
              <a:gd name="T36" fmla="*/ 309333 w 83"/>
              <a:gd name="T37" fmla="*/ 589991 h 54"/>
              <a:gd name="T38" fmla="*/ 263506 w 83"/>
              <a:gd name="T39" fmla="*/ 640203 h 54"/>
              <a:gd name="T40" fmla="*/ 206222 w 83"/>
              <a:gd name="T41" fmla="*/ 652756 h 54"/>
              <a:gd name="T42" fmla="*/ 171852 w 83"/>
              <a:gd name="T43" fmla="*/ 677862 h 54"/>
              <a:gd name="T44" fmla="*/ 137481 w 83"/>
              <a:gd name="T45" fmla="*/ 665309 h 54"/>
              <a:gd name="T46" fmla="*/ 103111 w 83"/>
              <a:gd name="T47" fmla="*/ 640203 h 54"/>
              <a:gd name="T48" fmla="*/ 114568 w 83"/>
              <a:gd name="T49" fmla="*/ 589991 h 54"/>
              <a:gd name="T50" fmla="*/ 91654 w 83"/>
              <a:gd name="T51" fmla="*/ 577438 h 54"/>
              <a:gd name="T52" fmla="*/ 114568 w 83"/>
              <a:gd name="T53" fmla="*/ 489567 h 54"/>
              <a:gd name="T54" fmla="*/ 91654 w 83"/>
              <a:gd name="T55" fmla="*/ 451908 h 54"/>
              <a:gd name="T56" fmla="*/ 80197 w 83"/>
              <a:gd name="T57" fmla="*/ 414249 h 54"/>
              <a:gd name="T58" fmla="*/ 0 w 83"/>
              <a:gd name="T59" fmla="*/ 401696 h 54"/>
              <a:gd name="T60" fmla="*/ 34370 w 83"/>
              <a:gd name="T61" fmla="*/ 263613 h 54"/>
              <a:gd name="T62" fmla="*/ 80197 w 83"/>
              <a:gd name="T63" fmla="*/ 251060 h 54"/>
              <a:gd name="T64" fmla="*/ 114568 w 83"/>
              <a:gd name="T65" fmla="*/ 276166 h 54"/>
              <a:gd name="T66" fmla="*/ 160395 w 83"/>
              <a:gd name="T67" fmla="*/ 238507 h 54"/>
              <a:gd name="T68" fmla="*/ 366617 w 83"/>
              <a:gd name="T69" fmla="*/ 288719 h 54"/>
              <a:gd name="T70" fmla="*/ 423901 w 83"/>
              <a:gd name="T71" fmla="*/ 112977 h 54"/>
              <a:gd name="T72" fmla="*/ 458271 w 83"/>
              <a:gd name="T73" fmla="*/ 75318 h 54"/>
              <a:gd name="T74" fmla="*/ 607209 w 83"/>
              <a:gd name="T75" fmla="*/ 75318 h 54"/>
              <a:gd name="T76" fmla="*/ 687407 w 83"/>
              <a:gd name="T77" fmla="*/ 50212 h 54"/>
              <a:gd name="T78" fmla="*/ 698864 w 83"/>
              <a:gd name="T79" fmla="*/ 0 h 54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83"/>
              <a:gd name="T121" fmla="*/ 0 h 54"/>
              <a:gd name="T122" fmla="*/ 83 w 83"/>
              <a:gd name="T123" fmla="*/ 54 h 54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83" h="54">
                <a:moveTo>
                  <a:pt x="61" y="0"/>
                </a:moveTo>
                <a:lnTo>
                  <a:pt x="65" y="0"/>
                </a:lnTo>
                <a:lnTo>
                  <a:pt x="65" y="7"/>
                </a:lnTo>
                <a:lnTo>
                  <a:pt x="70" y="6"/>
                </a:lnTo>
                <a:lnTo>
                  <a:pt x="72" y="1"/>
                </a:lnTo>
                <a:lnTo>
                  <a:pt x="83" y="1"/>
                </a:lnTo>
                <a:lnTo>
                  <a:pt x="82" y="5"/>
                </a:lnTo>
                <a:lnTo>
                  <a:pt x="79" y="10"/>
                </a:lnTo>
                <a:lnTo>
                  <a:pt x="76" y="12"/>
                </a:lnTo>
                <a:lnTo>
                  <a:pt x="66" y="29"/>
                </a:lnTo>
                <a:lnTo>
                  <a:pt x="62" y="28"/>
                </a:lnTo>
                <a:lnTo>
                  <a:pt x="55" y="32"/>
                </a:lnTo>
                <a:lnTo>
                  <a:pt x="54" y="39"/>
                </a:lnTo>
                <a:lnTo>
                  <a:pt x="48" y="46"/>
                </a:lnTo>
                <a:lnTo>
                  <a:pt x="44" y="48"/>
                </a:lnTo>
                <a:lnTo>
                  <a:pt x="40" y="48"/>
                </a:lnTo>
                <a:lnTo>
                  <a:pt x="35" y="44"/>
                </a:lnTo>
                <a:lnTo>
                  <a:pt x="30" y="44"/>
                </a:lnTo>
                <a:lnTo>
                  <a:pt x="27" y="47"/>
                </a:lnTo>
                <a:lnTo>
                  <a:pt x="23" y="51"/>
                </a:lnTo>
                <a:lnTo>
                  <a:pt x="18" y="52"/>
                </a:lnTo>
                <a:lnTo>
                  <a:pt x="15" y="54"/>
                </a:lnTo>
                <a:lnTo>
                  <a:pt x="12" y="53"/>
                </a:lnTo>
                <a:lnTo>
                  <a:pt x="9" y="51"/>
                </a:lnTo>
                <a:lnTo>
                  <a:pt x="10" y="47"/>
                </a:lnTo>
                <a:lnTo>
                  <a:pt x="8" y="46"/>
                </a:lnTo>
                <a:lnTo>
                  <a:pt x="10" y="39"/>
                </a:lnTo>
                <a:lnTo>
                  <a:pt x="8" y="36"/>
                </a:lnTo>
                <a:lnTo>
                  <a:pt x="7" y="33"/>
                </a:lnTo>
                <a:lnTo>
                  <a:pt x="0" y="32"/>
                </a:lnTo>
                <a:lnTo>
                  <a:pt x="3" y="21"/>
                </a:lnTo>
                <a:lnTo>
                  <a:pt x="7" y="20"/>
                </a:lnTo>
                <a:lnTo>
                  <a:pt x="10" y="22"/>
                </a:lnTo>
                <a:lnTo>
                  <a:pt x="14" y="19"/>
                </a:lnTo>
                <a:lnTo>
                  <a:pt x="32" y="23"/>
                </a:lnTo>
                <a:lnTo>
                  <a:pt x="37" y="9"/>
                </a:lnTo>
                <a:lnTo>
                  <a:pt x="40" y="6"/>
                </a:lnTo>
                <a:lnTo>
                  <a:pt x="53" y="6"/>
                </a:lnTo>
                <a:lnTo>
                  <a:pt x="60" y="4"/>
                </a:lnTo>
                <a:lnTo>
                  <a:pt x="61" y="0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77" name="Freeform 12">
            <a:extLst>
              <a:ext uri="{FF2B5EF4-FFF2-40B4-BE49-F238E27FC236}">
                <a16:creationId xmlns:a16="http://schemas.microsoft.com/office/drawing/2014/main" id="{5E850D3E-67AE-4C58-B711-83CD34365E81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auto">
          <a:xfrm>
            <a:off x="2109942" y="3612672"/>
            <a:ext cx="522287" cy="412750"/>
          </a:xfrm>
          <a:custGeom>
            <a:avLst/>
            <a:gdLst>
              <a:gd name="T0" fmla="*/ 619125 w 63"/>
              <a:gd name="T1" fmla="*/ 524424 h 52"/>
              <a:gd name="T2" fmla="*/ 607659 w 63"/>
              <a:gd name="T3" fmla="*/ 511938 h 52"/>
              <a:gd name="T4" fmla="*/ 504472 w 63"/>
              <a:gd name="T5" fmla="*/ 511938 h 52"/>
              <a:gd name="T6" fmla="*/ 481541 w 63"/>
              <a:gd name="T7" fmla="*/ 586856 h 52"/>
              <a:gd name="T8" fmla="*/ 458611 w 63"/>
              <a:gd name="T9" fmla="*/ 636801 h 52"/>
              <a:gd name="T10" fmla="*/ 424215 w 63"/>
              <a:gd name="T11" fmla="*/ 649287 h 52"/>
              <a:gd name="T12" fmla="*/ 401285 w 63"/>
              <a:gd name="T13" fmla="*/ 636801 h 52"/>
              <a:gd name="T14" fmla="*/ 378354 w 63"/>
              <a:gd name="T15" fmla="*/ 624314 h 52"/>
              <a:gd name="T16" fmla="*/ 378354 w 63"/>
              <a:gd name="T17" fmla="*/ 574369 h 52"/>
              <a:gd name="T18" fmla="*/ 355423 w 63"/>
              <a:gd name="T19" fmla="*/ 561883 h 52"/>
              <a:gd name="T20" fmla="*/ 309562 w 63"/>
              <a:gd name="T21" fmla="*/ 524424 h 52"/>
              <a:gd name="T22" fmla="*/ 240771 w 63"/>
              <a:gd name="T23" fmla="*/ 549397 h 52"/>
              <a:gd name="T24" fmla="*/ 206375 w 63"/>
              <a:gd name="T25" fmla="*/ 561883 h 52"/>
              <a:gd name="T26" fmla="*/ 171979 w 63"/>
              <a:gd name="T27" fmla="*/ 549397 h 52"/>
              <a:gd name="T28" fmla="*/ 126118 w 63"/>
              <a:gd name="T29" fmla="*/ 511938 h 52"/>
              <a:gd name="T30" fmla="*/ 137583 w 63"/>
              <a:gd name="T31" fmla="*/ 424534 h 52"/>
              <a:gd name="T32" fmla="*/ 91722 w 63"/>
              <a:gd name="T33" fmla="*/ 399561 h 52"/>
              <a:gd name="T34" fmla="*/ 0 w 63"/>
              <a:gd name="T35" fmla="*/ 399561 h 52"/>
              <a:gd name="T36" fmla="*/ 22931 w 63"/>
              <a:gd name="T37" fmla="*/ 312157 h 52"/>
              <a:gd name="T38" fmla="*/ 57326 w 63"/>
              <a:gd name="T39" fmla="*/ 324644 h 52"/>
              <a:gd name="T40" fmla="*/ 91722 w 63"/>
              <a:gd name="T41" fmla="*/ 299671 h 52"/>
              <a:gd name="T42" fmla="*/ 149049 w 63"/>
              <a:gd name="T43" fmla="*/ 287185 h 52"/>
              <a:gd name="T44" fmla="*/ 194910 w 63"/>
              <a:gd name="T45" fmla="*/ 237240 h 52"/>
              <a:gd name="T46" fmla="*/ 229305 w 63"/>
              <a:gd name="T47" fmla="*/ 199781 h 52"/>
              <a:gd name="T48" fmla="*/ 286632 w 63"/>
              <a:gd name="T49" fmla="*/ 199781 h 52"/>
              <a:gd name="T50" fmla="*/ 343958 w 63"/>
              <a:gd name="T51" fmla="*/ 249726 h 52"/>
              <a:gd name="T52" fmla="*/ 389819 w 63"/>
              <a:gd name="T53" fmla="*/ 249726 h 52"/>
              <a:gd name="T54" fmla="*/ 435680 w 63"/>
              <a:gd name="T55" fmla="*/ 224753 h 52"/>
              <a:gd name="T56" fmla="*/ 504472 w 63"/>
              <a:gd name="T57" fmla="*/ 137349 h 52"/>
              <a:gd name="T58" fmla="*/ 515937 w 63"/>
              <a:gd name="T59" fmla="*/ 49945 h 52"/>
              <a:gd name="T60" fmla="*/ 596194 w 63"/>
              <a:gd name="T61" fmla="*/ 0 h 52"/>
              <a:gd name="T62" fmla="*/ 642055 w 63"/>
              <a:gd name="T63" fmla="*/ 12486 h 52"/>
              <a:gd name="T64" fmla="*/ 653520 w 63"/>
              <a:gd name="T65" fmla="*/ 74918 h 52"/>
              <a:gd name="T66" fmla="*/ 722312 w 63"/>
              <a:gd name="T67" fmla="*/ 124863 h 52"/>
              <a:gd name="T68" fmla="*/ 676451 w 63"/>
              <a:gd name="T69" fmla="*/ 174808 h 52"/>
              <a:gd name="T70" fmla="*/ 687916 w 63"/>
              <a:gd name="T71" fmla="*/ 237240 h 52"/>
              <a:gd name="T72" fmla="*/ 619125 w 63"/>
              <a:gd name="T73" fmla="*/ 312157 h 52"/>
              <a:gd name="T74" fmla="*/ 607659 w 63"/>
              <a:gd name="T75" fmla="*/ 362102 h 52"/>
              <a:gd name="T76" fmla="*/ 550333 w 63"/>
              <a:gd name="T77" fmla="*/ 437020 h 52"/>
              <a:gd name="T78" fmla="*/ 630590 w 63"/>
              <a:gd name="T79" fmla="*/ 486965 h 52"/>
              <a:gd name="T80" fmla="*/ 619125 w 63"/>
              <a:gd name="T81" fmla="*/ 524424 h 52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63"/>
              <a:gd name="T124" fmla="*/ 0 h 52"/>
              <a:gd name="T125" fmla="*/ 63 w 63"/>
              <a:gd name="T126" fmla="*/ 52 h 52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63" h="52">
                <a:moveTo>
                  <a:pt x="54" y="42"/>
                </a:moveTo>
                <a:lnTo>
                  <a:pt x="53" y="41"/>
                </a:lnTo>
                <a:lnTo>
                  <a:pt x="44" y="41"/>
                </a:lnTo>
                <a:lnTo>
                  <a:pt x="42" y="47"/>
                </a:lnTo>
                <a:lnTo>
                  <a:pt x="40" y="51"/>
                </a:lnTo>
                <a:lnTo>
                  <a:pt x="37" y="52"/>
                </a:lnTo>
                <a:lnTo>
                  <a:pt x="35" y="51"/>
                </a:lnTo>
                <a:lnTo>
                  <a:pt x="33" y="50"/>
                </a:lnTo>
                <a:lnTo>
                  <a:pt x="33" y="46"/>
                </a:lnTo>
                <a:lnTo>
                  <a:pt x="31" y="45"/>
                </a:lnTo>
                <a:lnTo>
                  <a:pt x="27" y="42"/>
                </a:lnTo>
                <a:lnTo>
                  <a:pt x="21" y="44"/>
                </a:lnTo>
                <a:lnTo>
                  <a:pt x="18" y="45"/>
                </a:lnTo>
                <a:lnTo>
                  <a:pt x="15" y="44"/>
                </a:lnTo>
                <a:lnTo>
                  <a:pt x="11" y="41"/>
                </a:lnTo>
                <a:lnTo>
                  <a:pt x="12" y="34"/>
                </a:lnTo>
                <a:lnTo>
                  <a:pt x="8" y="32"/>
                </a:lnTo>
                <a:lnTo>
                  <a:pt x="0" y="32"/>
                </a:lnTo>
                <a:lnTo>
                  <a:pt x="2" y="25"/>
                </a:lnTo>
                <a:lnTo>
                  <a:pt x="5" y="26"/>
                </a:lnTo>
                <a:lnTo>
                  <a:pt x="8" y="24"/>
                </a:lnTo>
                <a:lnTo>
                  <a:pt x="13" y="23"/>
                </a:lnTo>
                <a:lnTo>
                  <a:pt x="17" y="19"/>
                </a:lnTo>
                <a:lnTo>
                  <a:pt x="20" y="16"/>
                </a:lnTo>
                <a:lnTo>
                  <a:pt x="25" y="16"/>
                </a:lnTo>
                <a:lnTo>
                  <a:pt x="30" y="20"/>
                </a:lnTo>
                <a:lnTo>
                  <a:pt x="34" y="20"/>
                </a:lnTo>
                <a:lnTo>
                  <a:pt x="38" y="18"/>
                </a:lnTo>
                <a:lnTo>
                  <a:pt x="44" y="11"/>
                </a:lnTo>
                <a:lnTo>
                  <a:pt x="45" y="4"/>
                </a:lnTo>
                <a:lnTo>
                  <a:pt x="52" y="0"/>
                </a:lnTo>
                <a:lnTo>
                  <a:pt x="56" y="1"/>
                </a:lnTo>
                <a:lnTo>
                  <a:pt x="57" y="6"/>
                </a:lnTo>
                <a:lnTo>
                  <a:pt x="63" y="10"/>
                </a:lnTo>
                <a:lnTo>
                  <a:pt x="59" y="14"/>
                </a:lnTo>
                <a:lnTo>
                  <a:pt x="60" y="19"/>
                </a:lnTo>
                <a:lnTo>
                  <a:pt x="54" y="25"/>
                </a:lnTo>
                <a:lnTo>
                  <a:pt x="53" y="29"/>
                </a:lnTo>
                <a:lnTo>
                  <a:pt x="48" y="35"/>
                </a:lnTo>
                <a:lnTo>
                  <a:pt x="55" y="39"/>
                </a:lnTo>
                <a:lnTo>
                  <a:pt x="54" y="42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78" name="Freeform 13">
            <a:extLst>
              <a:ext uri="{FF2B5EF4-FFF2-40B4-BE49-F238E27FC236}">
                <a16:creationId xmlns:a16="http://schemas.microsoft.com/office/drawing/2014/main" id="{2287DBFF-5BE5-4D03-B9C9-1CEEF8254FE5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1462242" y="1664809"/>
            <a:ext cx="1604962" cy="650875"/>
          </a:xfrm>
          <a:custGeom>
            <a:avLst/>
            <a:gdLst>
              <a:gd name="T0" fmla="*/ 457920 w 194"/>
              <a:gd name="T1" fmla="*/ 0 h 82"/>
              <a:gd name="T2" fmla="*/ 549504 w 194"/>
              <a:gd name="T3" fmla="*/ 62435 h 82"/>
              <a:gd name="T4" fmla="*/ 549504 w 194"/>
              <a:gd name="T5" fmla="*/ 87409 h 82"/>
              <a:gd name="T6" fmla="*/ 744120 w 194"/>
              <a:gd name="T7" fmla="*/ 74922 h 82"/>
              <a:gd name="T8" fmla="*/ 812808 w 194"/>
              <a:gd name="T9" fmla="*/ 162331 h 82"/>
              <a:gd name="T10" fmla="*/ 812808 w 194"/>
              <a:gd name="T11" fmla="*/ 199793 h 82"/>
              <a:gd name="T12" fmla="*/ 721224 w 194"/>
              <a:gd name="T13" fmla="*/ 274715 h 82"/>
              <a:gd name="T14" fmla="*/ 721224 w 194"/>
              <a:gd name="T15" fmla="*/ 324663 h 82"/>
              <a:gd name="T16" fmla="*/ 767016 w 194"/>
              <a:gd name="T17" fmla="*/ 362124 h 82"/>
              <a:gd name="T18" fmla="*/ 755568 w 194"/>
              <a:gd name="T19" fmla="*/ 312176 h 82"/>
              <a:gd name="T20" fmla="*/ 755568 w 194"/>
              <a:gd name="T21" fmla="*/ 274715 h 82"/>
              <a:gd name="T22" fmla="*/ 824256 w 194"/>
              <a:gd name="T23" fmla="*/ 224767 h 82"/>
              <a:gd name="T24" fmla="*/ 858600 w 194"/>
              <a:gd name="T25" fmla="*/ 237254 h 82"/>
              <a:gd name="T26" fmla="*/ 904392 w 194"/>
              <a:gd name="T27" fmla="*/ 299689 h 82"/>
              <a:gd name="T28" fmla="*/ 904392 w 194"/>
              <a:gd name="T29" fmla="*/ 337150 h 82"/>
              <a:gd name="T30" fmla="*/ 904392 w 194"/>
              <a:gd name="T31" fmla="*/ 387098 h 82"/>
              <a:gd name="T32" fmla="*/ 927288 w 194"/>
              <a:gd name="T33" fmla="*/ 424559 h 82"/>
              <a:gd name="T34" fmla="*/ 950184 w 194"/>
              <a:gd name="T35" fmla="*/ 424559 h 82"/>
              <a:gd name="T36" fmla="*/ 938736 w 194"/>
              <a:gd name="T37" fmla="*/ 262228 h 82"/>
              <a:gd name="T38" fmla="*/ 927288 w 194"/>
              <a:gd name="T39" fmla="*/ 237254 h 82"/>
              <a:gd name="T40" fmla="*/ 984528 w 194"/>
              <a:gd name="T41" fmla="*/ 99896 h 82"/>
              <a:gd name="T42" fmla="*/ 1030320 w 194"/>
              <a:gd name="T43" fmla="*/ 124870 h 82"/>
              <a:gd name="T44" fmla="*/ 1076112 w 194"/>
              <a:gd name="T45" fmla="*/ 174818 h 82"/>
              <a:gd name="T46" fmla="*/ 1156249 w 194"/>
              <a:gd name="T47" fmla="*/ 199793 h 82"/>
              <a:gd name="T48" fmla="*/ 1236385 w 194"/>
              <a:gd name="T49" fmla="*/ 237254 h 82"/>
              <a:gd name="T50" fmla="*/ 1293625 w 194"/>
              <a:gd name="T51" fmla="*/ 274715 h 82"/>
              <a:gd name="T52" fmla="*/ 1350865 w 194"/>
              <a:gd name="T53" fmla="*/ 287202 h 82"/>
              <a:gd name="T54" fmla="*/ 1408105 w 194"/>
              <a:gd name="T55" fmla="*/ 324663 h 82"/>
              <a:gd name="T56" fmla="*/ 1442449 w 194"/>
              <a:gd name="T57" fmla="*/ 362124 h 82"/>
              <a:gd name="T58" fmla="*/ 1556929 w 194"/>
              <a:gd name="T59" fmla="*/ 337150 h 82"/>
              <a:gd name="T60" fmla="*/ 1705753 w 194"/>
              <a:gd name="T61" fmla="*/ 511968 h 82"/>
              <a:gd name="T62" fmla="*/ 1888921 w 194"/>
              <a:gd name="T63" fmla="*/ 511968 h 82"/>
              <a:gd name="T64" fmla="*/ 1888921 w 194"/>
              <a:gd name="T65" fmla="*/ 474507 h 82"/>
              <a:gd name="T66" fmla="*/ 1866025 w 194"/>
              <a:gd name="T67" fmla="*/ 437046 h 82"/>
              <a:gd name="T68" fmla="*/ 1888921 w 194"/>
              <a:gd name="T69" fmla="*/ 399585 h 82"/>
              <a:gd name="T70" fmla="*/ 1934713 w 194"/>
              <a:gd name="T71" fmla="*/ 349637 h 82"/>
              <a:gd name="T72" fmla="*/ 1980505 w 194"/>
              <a:gd name="T73" fmla="*/ 324663 h 82"/>
              <a:gd name="T74" fmla="*/ 2220913 w 194"/>
              <a:gd name="T75" fmla="*/ 324663 h 82"/>
              <a:gd name="T76" fmla="*/ 2209465 w 194"/>
              <a:gd name="T77" fmla="*/ 724248 h 82"/>
              <a:gd name="T78" fmla="*/ 2198017 w 194"/>
              <a:gd name="T79" fmla="*/ 761709 h 82"/>
              <a:gd name="T80" fmla="*/ 1591273 w 194"/>
              <a:gd name="T81" fmla="*/ 774196 h 82"/>
              <a:gd name="T82" fmla="*/ 1396657 w 194"/>
              <a:gd name="T83" fmla="*/ 736735 h 82"/>
              <a:gd name="T84" fmla="*/ 1247833 w 194"/>
              <a:gd name="T85" fmla="*/ 736735 h 82"/>
              <a:gd name="T86" fmla="*/ 1179145 w 194"/>
              <a:gd name="T87" fmla="*/ 824144 h 82"/>
              <a:gd name="T88" fmla="*/ 950184 w 194"/>
              <a:gd name="T89" fmla="*/ 824144 h 82"/>
              <a:gd name="T90" fmla="*/ 950184 w 194"/>
              <a:gd name="T91" fmla="*/ 1023937 h 82"/>
              <a:gd name="T92" fmla="*/ 870048 w 194"/>
              <a:gd name="T93" fmla="*/ 973989 h 82"/>
              <a:gd name="T94" fmla="*/ 789912 w 194"/>
              <a:gd name="T95" fmla="*/ 973989 h 82"/>
              <a:gd name="T96" fmla="*/ 778464 w 194"/>
              <a:gd name="T97" fmla="*/ 874093 h 82"/>
              <a:gd name="T98" fmla="*/ 377784 w 194"/>
              <a:gd name="T99" fmla="*/ 836632 h 82"/>
              <a:gd name="T100" fmla="*/ 217512 w 194"/>
              <a:gd name="T101" fmla="*/ 699274 h 82"/>
              <a:gd name="T102" fmla="*/ 0 w 194"/>
              <a:gd name="T103" fmla="*/ 387098 h 82"/>
              <a:gd name="T104" fmla="*/ 57240 w 194"/>
              <a:gd name="T105" fmla="*/ 324663 h 82"/>
              <a:gd name="T106" fmla="*/ 137376 w 194"/>
              <a:gd name="T107" fmla="*/ 324663 h 82"/>
              <a:gd name="T108" fmla="*/ 183168 w 194"/>
              <a:gd name="T109" fmla="*/ 312176 h 82"/>
              <a:gd name="T110" fmla="*/ 228960 w 194"/>
              <a:gd name="T111" fmla="*/ 274715 h 82"/>
              <a:gd name="T112" fmla="*/ 274752 w 194"/>
              <a:gd name="T113" fmla="*/ 237254 h 82"/>
              <a:gd name="T114" fmla="*/ 309096 w 194"/>
              <a:gd name="T115" fmla="*/ 187306 h 82"/>
              <a:gd name="T116" fmla="*/ 354888 w 194"/>
              <a:gd name="T117" fmla="*/ 137357 h 82"/>
              <a:gd name="T118" fmla="*/ 400680 w 194"/>
              <a:gd name="T119" fmla="*/ 99896 h 82"/>
              <a:gd name="T120" fmla="*/ 457920 w 194"/>
              <a:gd name="T121" fmla="*/ 0 h 82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94"/>
              <a:gd name="T184" fmla="*/ 0 h 82"/>
              <a:gd name="T185" fmla="*/ 194 w 194"/>
              <a:gd name="T186" fmla="*/ 82 h 82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94" h="82">
                <a:moveTo>
                  <a:pt x="40" y="0"/>
                </a:moveTo>
                <a:lnTo>
                  <a:pt x="48" y="5"/>
                </a:lnTo>
                <a:lnTo>
                  <a:pt x="48" y="7"/>
                </a:lnTo>
                <a:lnTo>
                  <a:pt x="65" y="6"/>
                </a:lnTo>
                <a:lnTo>
                  <a:pt x="71" y="13"/>
                </a:lnTo>
                <a:lnTo>
                  <a:pt x="71" y="16"/>
                </a:lnTo>
                <a:lnTo>
                  <a:pt x="63" y="22"/>
                </a:lnTo>
                <a:lnTo>
                  <a:pt x="63" y="26"/>
                </a:lnTo>
                <a:lnTo>
                  <a:pt x="67" y="29"/>
                </a:lnTo>
                <a:lnTo>
                  <a:pt x="66" y="25"/>
                </a:lnTo>
                <a:lnTo>
                  <a:pt x="66" y="22"/>
                </a:lnTo>
                <a:lnTo>
                  <a:pt x="72" y="18"/>
                </a:lnTo>
                <a:lnTo>
                  <a:pt x="75" y="19"/>
                </a:lnTo>
                <a:lnTo>
                  <a:pt x="79" y="24"/>
                </a:lnTo>
                <a:lnTo>
                  <a:pt x="79" y="27"/>
                </a:lnTo>
                <a:lnTo>
                  <a:pt x="79" y="31"/>
                </a:lnTo>
                <a:lnTo>
                  <a:pt x="81" y="34"/>
                </a:lnTo>
                <a:lnTo>
                  <a:pt x="83" y="34"/>
                </a:lnTo>
                <a:lnTo>
                  <a:pt x="82" y="21"/>
                </a:lnTo>
                <a:lnTo>
                  <a:pt x="81" y="19"/>
                </a:lnTo>
                <a:lnTo>
                  <a:pt x="86" y="8"/>
                </a:lnTo>
                <a:lnTo>
                  <a:pt x="90" y="10"/>
                </a:lnTo>
                <a:lnTo>
                  <a:pt x="94" y="14"/>
                </a:lnTo>
                <a:lnTo>
                  <a:pt x="101" y="16"/>
                </a:lnTo>
                <a:lnTo>
                  <a:pt x="108" y="19"/>
                </a:lnTo>
                <a:lnTo>
                  <a:pt x="113" y="22"/>
                </a:lnTo>
                <a:lnTo>
                  <a:pt x="118" y="23"/>
                </a:lnTo>
                <a:lnTo>
                  <a:pt x="123" y="26"/>
                </a:lnTo>
                <a:lnTo>
                  <a:pt x="126" y="29"/>
                </a:lnTo>
                <a:lnTo>
                  <a:pt x="136" y="27"/>
                </a:lnTo>
                <a:lnTo>
                  <a:pt x="149" y="41"/>
                </a:lnTo>
                <a:lnTo>
                  <a:pt x="165" y="41"/>
                </a:lnTo>
                <a:lnTo>
                  <a:pt x="165" y="38"/>
                </a:lnTo>
                <a:lnTo>
                  <a:pt x="163" y="35"/>
                </a:lnTo>
                <a:lnTo>
                  <a:pt x="165" y="32"/>
                </a:lnTo>
                <a:lnTo>
                  <a:pt x="169" y="28"/>
                </a:lnTo>
                <a:lnTo>
                  <a:pt x="173" y="26"/>
                </a:lnTo>
                <a:lnTo>
                  <a:pt x="194" y="26"/>
                </a:lnTo>
                <a:lnTo>
                  <a:pt x="193" y="58"/>
                </a:lnTo>
                <a:lnTo>
                  <a:pt x="192" y="61"/>
                </a:lnTo>
                <a:lnTo>
                  <a:pt x="139" y="62"/>
                </a:lnTo>
                <a:lnTo>
                  <a:pt x="122" y="59"/>
                </a:lnTo>
                <a:lnTo>
                  <a:pt x="109" y="59"/>
                </a:lnTo>
                <a:lnTo>
                  <a:pt x="103" y="66"/>
                </a:lnTo>
                <a:lnTo>
                  <a:pt x="83" y="66"/>
                </a:lnTo>
                <a:lnTo>
                  <a:pt x="83" y="82"/>
                </a:lnTo>
                <a:lnTo>
                  <a:pt x="76" y="78"/>
                </a:lnTo>
                <a:lnTo>
                  <a:pt x="69" y="78"/>
                </a:lnTo>
                <a:lnTo>
                  <a:pt x="68" y="70"/>
                </a:lnTo>
                <a:lnTo>
                  <a:pt x="33" y="67"/>
                </a:lnTo>
                <a:lnTo>
                  <a:pt x="19" y="56"/>
                </a:lnTo>
                <a:lnTo>
                  <a:pt x="0" y="31"/>
                </a:lnTo>
                <a:lnTo>
                  <a:pt x="5" y="26"/>
                </a:lnTo>
                <a:lnTo>
                  <a:pt x="12" y="26"/>
                </a:lnTo>
                <a:lnTo>
                  <a:pt x="16" y="25"/>
                </a:lnTo>
                <a:lnTo>
                  <a:pt x="20" y="22"/>
                </a:lnTo>
                <a:lnTo>
                  <a:pt x="24" y="19"/>
                </a:lnTo>
                <a:lnTo>
                  <a:pt x="27" y="15"/>
                </a:lnTo>
                <a:lnTo>
                  <a:pt x="31" y="11"/>
                </a:lnTo>
                <a:lnTo>
                  <a:pt x="35" y="8"/>
                </a:lnTo>
                <a:lnTo>
                  <a:pt x="40" y="0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8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79" name="Freeform 14">
            <a:extLst>
              <a:ext uri="{FF2B5EF4-FFF2-40B4-BE49-F238E27FC236}">
                <a16:creationId xmlns:a16="http://schemas.microsoft.com/office/drawing/2014/main" id="{B1E4130B-BF29-47D0-9643-EF1D8A29A45E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1605117" y="2099784"/>
            <a:ext cx="984250" cy="942975"/>
          </a:xfrm>
          <a:custGeom>
            <a:avLst/>
            <a:gdLst>
              <a:gd name="T0" fmla="*/ 1007249 w 119"/>
              <a:gd name="T1" fmla="*/ 710973 h 119"/>
              <a:gd name="T2" fmla="*/ 972911 w 119"/>
              <a:gd name="T3" fmla="*/ 735919 h 119"/>
              <a:gd name="T4" fmla="*/ 972911 w 119"/>
              <a:gd name="T5" fmla="*/ 785812 h 119"/>
              <a:gd name="T6" fmla="*/ 1007249 w 119"/>
              <a:gd name="T7" fmla="*/ 848178 h 119"/>
              <a:gd name="T8" fmla="*/ 1041587 w 119"/>
              <a:gd name="T9" fmla="*/ 898071 h 119"/>
              <a:gd name="T10" fmla="*/ 1133155 w 119"/>
              <a:gd name="T11" fmla="*/ 923018 h 119"/>
              <a:gd name="T12" fmla="*/ 1201831 w 119"/>
              <a:gd name="T13" fmla="*/ 947964 h 119"/>
              <a:gd name="T14" fmla="*/ 1259061 w 119"/>
              <a:gd name="T15" fmla="*/ 985384 h 119"/>
              <a:gd name="T16" fmla="*/ 1304845 w 119"/>
              <a:gd name="T17" fmla="*/ 1047750 h 119"/>
              <a:gd name="T18" fmla="*/ 1350629 w 119"/>
              <a:gd name="T19" fmla="*/ 1122589 h 119"/>
              <a:gd name="T20" fmla="*/ 1362075 w 119"/>
              <a:gd name="T21" fmla="*/ 1160009 h 119"/>
              <a:gd name="T22" fmla="*/ 1350629 w 119"/>
              <a:gd name="T23" fmla="*/ 1197428 h 119"/>
              <a:gd name="T24" fmla="*/ 1327737 w 119"/>
              <a:gd name="T25" fmla="*/ 1234848 h 119"/>
              <a:gd name="T26" fmla="*/ 1304845 w 119"/>
              <a:gd name="T27" fmla="*/ 1272267 h 119"/>
              <a:gd name="T28" fmla="*/ 1316291 w 119"/>
              <a:gd name="T29" fmla="*/ 1322160 h 119"/>
              <a:gd name="T30" fmla="*/ 1327737 w 119"/>
              <a:gd name="T31" fmla="*/ 1372053 h 119"/>
              <a:gd name="T32" fmla="*/ 1350629 w 119"/>
              <a:gd name="T33" fmla="*/ 1397000 h 119"/>
              <a:gd name="T34" fmla="*/ 1270507 w 119"/>
              <a:gd name="T35" fmla="*/ 1409473 h 119"/>
              <a:gd name="T36" fmla="*/ 1190385 w 119"/>
              <a:gd name="T37" fmla="*/ 1434419 h 119"/>
              <a:gd name="T38" fmla="*/ 1098817 w 119"/>
              <a:gd name="T39" fmla="*/ 1384526 h 119"/>
              <a:gd name="T40" fmla="*/ 1018695 w 119"/>
              <a:gd name="T41" fmla="*/ 1372053 h 119"/>
              <a:gd name="T42" fmla="*/ 972911 w 119"/>
              <a:gd name="T43" fmla="*/ 1421946 h 119"/>
              <a:gd name="T44" fmla="*/ 915681 w 119"/>
              <a:gd name="T45" fmla="*/ 1434419 h 119"/>
              <a:gd name="T46" fmla="*/ 801221 w 119"/>
              <a:gd name="T47" fmla="*/ 1484312 h 119"/>
              <a:gd name="T48" fmla="*/ 743991 w 119"/>
              <a:gd name="T49" fmla="*/ 1421946 h 119"/>
              <a:gd name="T50" fmla="*/ 675314 w 119"/>
              <a:gd name="T51" fmla="*/ 1372053 h 119"/>
              <a:gd name="T52" fmla="*/ 618084 w 119"/>
              <a:gd name="T53" fmla="*/ 1372053 h 119"/>
              <a:gd name="T54" fmla="*/ 480732 w 119"/>
              <a:gd name="T55" fmla="*/ 1409473 h 119"/>
              <a:gd name="T56" fmla="*/ 366272 w 119"/>
              <a:gd name="T57" fmla="*/ 1347107 h 119"/>
              <a:gd name="T58" fmla="*/ 331934 w 119"/>
              <a:gd name="T59" fmla="*/ 1259794 h 119"/>
              <a:gd name="T60" fmla="*/ 286150 w 119"/>
              <a:gd name="T61" fmla="*/ 1197428 h 119"/>
              <a:gd name="T62" fmla="*/ 309042 w 119"/>
              <a:gd name="T63" fmla="*/ 1135062 h 119"/>
              <a:gd name="T64" fmla="*/ 366272 w 119"/>
              <a:gd name="T65" fmla="*/ 1135062 h 119"/>
              <a:gd name="T66" fmla="*/ 354826 w 119"/>
              <a:gd name="T67" fmla="*/ 1035277 h 119"/>
              <a:gd name="T68" fmla="*/ 389164 w 119"/>
              <a:gd name="T69" fmla="*/ 960437 h 119"/>
              <a:gd name="T70" fmla="*/ 366272 w 119"/>
              <a:gd name="T71" fmla="*/ 885598 h 119"/>
              <a:gd name="T72" fmla="*/ 434948 w 119"/>
              <a:gd name="T73" fmla="*/ 785812 h 119"/>
              <a:gd name="T74" fmla="*/ 469286 w 119"/>
              <a:gd name="T75" fmla="*/ 723446 h 119"/>
              <a:gd name="T76" fmla="*/ 446394 w 119"/>
              <a:gd name="T77" fmla="*/ 686027 h 119"/>
              <a:gd name="T78" fmla="*/ 389164 w 119"/>
              <a:gd name="T79" fmla="*/ 611187 h 119"/>
              <a:gd name="T80" fmla="*/ 286150 w 119"/>
              <a:gd name="T81" fmla="*/ 561295 h 119"/>
              <a:gd name="T82" fmla="*/ 0 w 119"/>
              <a:gd name="T83" fmla="*/ 461509 h 119"/>
              <a:gd name="T84" fmla="*/ 11446 w 119"/>
              <a:gd name="T85" fmla="*/ 386670 h 119"/>
              <a:gd name="T86" fmla="*/ 91568 w 119"/>
              <a:gd name="T87" fmla="*/ 274411 h 119"/>
              <a:gd name="T88" fmla="*/ 68676 w 119"/>
              <a:gd name="T89" fmla="*/ 212045 h 119"/>
              <a:gd name="T90" fmla="*/ 103014 w 119"/>
              <a:gd name="T91" fmla="*/ 162152 h 119"/>
              <a:gd name="T92" fmla="*/ 148798 w 119"/>
              <a:gd name="T93" fmla="*/ 137205 h 119"/>
              <a:gd name="T94" fmla="*/ 183136 w 119"/>
              <a:gd name="T95" fmla="*/ 0 h 119"/>
              <a:gd name="T96" fmla="*/ 583746 w 119"/>
              <a:gd name="T97" fmla="*/ 37420 h 119"/>
              <a:gd name="T98" fmla="*/ 595192 w 119"/>
              <a:gd name="T99" fmla="*/ 137205 h 119"/>
              <a:gd name="T100" fmla="*/ 675314 w 119"/>
              <a:gd name="T101" fmla="*/ 137205 h 119"/>
              <a:gd name="T102" fmla="*/ 755437 w 119"/>
              <a:gd name="T103" fmla="*/ 187098 h 119"/>
              <a:gd name="T104" fmla="*/ 835559 w 119"/>
              <a:gd name="T105" fmla="*/ 274411 h 119"/>
              <a:gd name="T106" fmla="*/ 835559 w 119"/>
              <a:gd name="T107" fmla="*/ 336777 h 119"/>
              <a:gd name="T108" fmla="*/ 812667 w 119"/>
              <a:gd name="T109" fmla="*/ 386670 h 119"/>
              <a:gd name="T110" fmla="*/ 847005 w 119"/>
              <a:gd name="T111" fmla="*/ 411616 h 119"/>
              <a:gd name="T112" fmla="*/ 858451 w 119"/>
              <a:gd name="T113" fmla="*/ 486455 h 119"/>
              <a:gd name="T114" fmla="*/ 881343 w 119"/>
              <a:gd name="T115" fmla="*/ 511402 h 119"/>
              <a:gd name="T116" fmla="*/ 927127 w 119"/>
              <a:gd name="T117" fmla="*/ 536348 h 119"/>
              <a:gd name="T118" fmla="*/ 972911 w 119"/>
              <a:gd name="T119" fmla="*/ 573768 h 119"/>
              <a:gd name="T120" fmla="*/ 995803 w 119"/>
              <a:gd name="T121" fmla="*/ 661080 h 119"/>
              <a:gd name="T122" fmla="*/ 1007249 w 119"/>
              <a:gd name="T123" fmla="*/ 710973 h 11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9"/>
              <a:gd name="T187" fmla="*/ 0 h 119"/>
              <a:gd name="T188" fmla="*/ 119 w 119"/>
              <a:gd name="T189" fmla="*/ 119 h 119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9" h="119">
                <a:moveTo>
                  <a:pt x="88" y="57"/>
                </a:moveTo>
                <a:lnTo>
                  <a:pt x="85" y="59"/>
                </a:lnTo>
                <a:lnTo>
                  <a:pt x="85" y="63"/>
                </a:lnTo>
                <a:lnTo>
                  <a:pt x="88" y="68"/>
                </a:lnTo>
                <a:lnTo>
                  <a:pt x="91" y="72"/>
                </a:lnTo>
                <a:lnTo>
                  <a:pt x="99" y="74"/>
                </a:lnTo>
                <a:lnTo>
                  <a:pt x="105" y="76"/>
                </a:lnTo>
                <a:lnTo>
                  <a:pt x="110" y="79"/>
                </a:lnTo>
                <a:lnTo>
                  <a:pt x="114" y="84"/>
                </a:lnTo>
                <a:lnTo>
                  <a:pt x="118" y="90"/>
                </a:lnTo>
                <a:lnTo>
                  <a:pt x="119" y="93"/>
                </a:lnTo>
                <a:lnTo>
                  <a:pt x="118" y="96"/>
                </a:lnTo>
                <a:lnTo>
                  <a:pt x="116" y="99"/>
                </a:lnTo>
                <a:lnTo>
                  <a:pt x="114" y="102"/>
                </a:lnTo>
                <a:lnTo>
                  <a:pt x="115" y="106"/>
                </a:lnTo>
                <a:lnTo>
                  <a:pt x="116" y="110"/>
                </a:lnTo>
                <a:lnTo>
                  <a:pt x="118" y="112"/>
                </a:lnTo>
                <a:lnTo>
                  <a:pt x="111" y="113"/>
                </a:lnTo>
                <a:lnTo>
                  <a:pt x="104" y="115"/>
                </a:lnTo>
                <a:lnTo>
                  <a:pt x="96" y="111"/>
                </a:lnTo>
                <a:lnTo>
                  <a:pt x="89" y="110"/>
                </a:lnTo>
                <a:lnTo>
                  <a:pt x="85" y="114"/>
                </a:lnTo>
                <a:lnTo>
                  <a:pt x="80" y="115"/>
                </a:lnTo>
                <a:lnTo>
                  <a:pt x="70" y="119"/>
                </a:lnTo>
                <a:lnTo>
                  <a:pt x="65" y="114"/>
                </a:lnTo>
                <a:lnTo>
                  <a:pt x="59" y="110"/>
                </a:lnTo>
                <a:lnTo>
                  <a:pt x="54" y="110"/>
                </a:lnTo>
                <a:lnTo>
                  <a:pt x="42" y="113"/>
                </a:lnTo>
                <a:lnTo>
                  <a:pt x="32" y="108"/>
                </a:lnTo>
                <a:lnTo>
                  <a:pt x="29" y="101"/>
                </a:lnTo>
                <a:lnTo>
                  <a:pt x="25" y="96"/>
                </a:lnTo>
                <a:lnTo>
                  <a:pt x="27" y="91"/>
                </a:lnTo>
                <a:lnTo>
                  <a:pt x="32" y="91"/>
                </a:lnTo>
                <a:lnTo>
                  <a:pt x="31" y="83"/>
                </a:lnTo>
                <a:lnTo>
                  <a:pt x="34" y="77"/>
                </a:lnTo>
                <a:lnTo>
                  <a:pt x="32" y="71"/>
                </a:lnTo>
                <a:lnTo>
                  <a:pt x="38" y="63"/>
                </a:lnTo>
                <a:lnTo>
                  <a:pt x="41" y="58"/>
                </a:lnTo>
                <a:lnTo>
                  <a:pt x="39" y="55"/>
                </a:lnTo>
                <a:lnTo>
                  <a:pt x="34" y="49"/>
                </a:lnTo>
                <a:lnTo>
                  <a:pt x="25" y="45"/>
                </a:lnTo>
                <a:lnTo>
                  <a:pt x="0" y="37"/>
                </a:lnTo>
                <a:lnTo>
                  <a:pt x="1" y="31"/>
                </a:lnTo>
                <a:lnTo>
                  <a:pt x="8" y="22"/>
                </a:lnTo>
                <a:lnTo>
                  <a:pt x="6" y="17"/>
                </a:lnTo>
                <a:lnTo>
                  <a:pt x="9" y="13"/>
                </a:lnTo>
                <a:lnTo>
                  <a:pt x="13" y="11"/>
                </a:lnTo>
                <a:lnTo>
                  <a:pt x="16" y="0"/>
                </a:lnTo>
                <a:lnTo>
                  <a:pt x="51" y="3"/>
                </a:lnTo>
                <a:lnTo>
                  <a:pt x="52" y="11"/>
                </a:lnTo>
                <a:lnTo>
                  <a:pt x="59" y="11"/>
                </a:lnTo>
                <a:lnTo>
                  <a:pt x="66" y="15"/>
                </a:lnTo>
                <a:lnTo>
                  <a:pt x="73" y="22"/>
                </a:lnTo>
                <a:lnTo>
                  <a:pt x="73" y="27"/>
                </a:lnTo>
                <a:lnTo>
                  <a:pt x="71" y="31"/>
                </a:lnTo>
                <a:lnTo>
                  <a:pt x="74" y="33"/>
                </a:lnTo>
                <a:lnTo>
                  <a:pt x="75" y="39"/>
                </a:lnTo>
                <a:lnTo>
                  <a:pt x="77" y="41"/>
                </a:lnTo>
                <a:lnTo>
                  <a:pt x="81" y="43"/>
                </a:lnTo>
                <a:lnTo>
                  <a:pt x="85" y="46"/>
                </a:lnTo>
                <a:lnTo>
                  <a:pt x="87" y="53"/>
                </a:lnTo>
                <a:lnTo>
                  <a:pt x="88" y="57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80" name="Freeform 15">
            <a:extLst>
              <a:ext uri="{FF2B5EF4-FFF2-40B4-BE49-F238E27FC236}">
                <a16:creationId xmlns:a16="http://schemas.microsoft.com/office/drawing/2014/main" id="{E3FF5BB1-4B0C-4357-A112-5044873A0902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 bwMode="auto">
          <a:xfrm>
            <a:off x="454179" y="2388709"/>
            <a:ext cx="842963" cy="838200"/>
          </a:xfrm>
          <a:custGeom>
            <a:avLst/>
            <a:gdLst>
              <a:gd name="T0" fmla="*/ 240226 w 102"/>
              <a:gd name="T1" fmla="*/ 1320800 h 106"/>
              <a:gd name="T2" fmla="*/ 114393 w 102"/>
              <a:gd name="T3" fmla="*/ 1183736 h 106"/>
              <a:gd name="T4" fmla="*/ 80075 w 102"/>
              <a:gd name="T5" fmla="*/ 1059132 h 106"/>
              <a:gd name="T6" fmla="*/ 102954 w 102"/>
              <a:gd name="T7" fmla="*/ 971910 h 106"/>
              <a:gd name="T8" fmla="*/ 91515 w 102"/>
              <a:gd name="T9" fmla="*/ 922068 h 106"/>
              <a:gd name="T10" fmla="*/ 57197 w 102"/>
              <a:gd name="T11" fmla="*/ 772543 h 106"/>
              <a:gd name="T12" fmla="*/ 45757 w 102"/>
              <a:gd name="T13" fmla="*/ 697781 h 106"/>
              <a:gd name="T14" fmla="*/ 148711 w 102"/>
              <a:gd name="T15" fmla="*/ 685321 h 106"/>
              <a:gd name="T16" fmla="*/ 205908 w 102"/>
              <a:gd name="T17" fmla="*/ 461034 h 106"/>
              <a:gd name="T18" fmla="*/ 377498 w 102"/>
              <a:gd name="T19" fmla="*/ 535796 h 106"/>
              <a:gd name="T20" fmla="*/ 434695 w 102"/>
              <a:gd name="T21" fmla="*/ 598098 h 106"/>
              <a:gd name="T22" fmla="*/ 503331 w 102"/>
              <a:gd name="T23" fmla="*/ 560717 h 106"/>
              <a:gd name="T24" fmla="*/ 571967 w 102"/>
              <a:gd name="T25" fmla="*/ 523336 h 106"/>
              <a:gd name="T26" fmla="*/ 629164 w 102"/>
              <a:gd name="T27" fmla="*/ 411193 h 106"/>
              <a:gd name="T28" fmla="*/ 594846 w 102"/>
              <a:gd name="T29" fmla="*/ 311509 h 106"/>
              <a:gd name="T30" fmla="*/ 629164 w 102"/>
              <a:gd name="T31" fmla="*/ 249208 h 106"/>
              <a:gd name="T32" fmla="*/ 571967 w 102"/>
              <a:gd name="T33" fmla="*/ 174445 h 106"/>
              <a:gd name="T34" fmla="*/ 434695 w 102"/>
              <a:gd name="T35" fmla="*/ 211826 h 106"/>
              <a:gd name="T36" fmla="*/ 354620 w 102"/>
              <a:gd name="T37" fmla="*/ 74762 h 106"/>
              <a:gd name="T38" fmla="*/ 446134 w 102"/>
              <a:gd name="T39" fmla="*/ 12460 h 106"/>
              <a:gd name="T40" fmla="*/ 743557 w 102"/>
              <a:gd name="T41" fmla="*/ 199366 h 106"/>
              <a:gd name="T42" fmla="*/ 869390 w 102"/>
              <a:gd name="T43" fmla="*/ 274128 h 106"/>
              <a:gd name="T44" fmla="*/ 949466 w 102"/>
              <a:gd name="T45" fmla="*/ 336430 h 106"/>
              <a:gd name="T46" fmla="*/ 915148 w 102"/>
              <a:gd name="T47" fmla="*/ 436113 h 106"/>
              <a:gd name="T48" fmla="*/ 983784 w 102"/>
              <a:gd name="T49" fmla="*/ 510876 h 106"/>
              <a:gd name="T50" fmla="*/ 1075298 w 102"/>
              <a:gd name="T51" fmla="*/ 423653 h 106"/>
              <a:gd name="T52" fmla="*/ 1143934 w 102"/>
              <a:gd name="T53" fmla="*/ 498415 h 106"/>
              <a:gd name="T54" fmla="*/ 1121056 w 102"/>
              <a:gd name="T55" fmla="*/ 660400 h 106"/>
              <a:gd name="T56" fmla="*/ 1006662 w 102"/>
              <a:gd name="T57" fmla="*/ 735162 h 106"/>
              <a:gd name="T58" fmla="*/ 960905 w 102"/>
              <a:gd name="T59" fmla="*/ 897147 h 106"/>
              <a:gd name="T60" fmla="*/ 926587 w 102"/>
              <a:gd name="T61" fmla="*/ 971910 h 106"/>
              <a:gd name="T62" fmla="*/ 949466 w 102"/>
              <a:gd name="T63" fmla="*/ 1059132 h 106"/>
              <a:gd name="T64" fmla="*/ 880830 w 102"/>
              <a:gd name="T65" fmla="*/ 1308340 h 106"/>
              <a:gd name="T66" fmla="*/ 743557 w 102"/>
              <a:gd name="T67" fmla="*/ 1246038 h 106"/>
              <a:gd name="T68" fmla="*/ 652043 w 102"/>
              <a:gd name="T69" fmla="*/ 1158815 h 106"/>
              <a:gd name="T70" fmla="*/ 549088 w 102"/>
              <a:gd name="T71" fmla="*/ 1246038 h 106"/>
              <a:gd name="T72" fmla="*/ 308862 w 102"/>
              <a:gd name="T73" fmla="*/ 1270959 h 10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02"/>
              <a:gd name="T112" fmla="*/ 0 h 106"/>
              <a:gd name="T113" fmla="*/ 102 w 102"/>
              <a:gd name="T114" fmla="*/ 106 h 10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02" h="106">
                <a:moveTo>
                  <a:pt x="26" y="106"/>
                </a:moveTo>
                <a:lnTo>
                  <a:pt x="21" y="106"/>
                </a:lnTo>
                <a:lnTo>
                  <a:pt x="11" y="98"/>
                </a:lnTo>
                <a:lnTo>
                  <a:pt x="10" y="95"/>
                </a:lnTo>
                <a:lnTo>
                  <a:pt x="7" y="90"/>
                </a:lnTo>
                <a:lnTo>
                  <a:pt x="7" y="85"/>
                </a:lnTo>
                <a:lnTo>
                  <a:pt x="8" y="80"/>
                </a:lnTo>
                <a:lnTo>
                  <a:pt x="9" y="78"/>
                </a:lnTo>
                <a:lnTo>
                  <a:pt x="6" y="77"/>
                </a:lnTo>
                <a:lnTo>
                  <a:pt x="8" y="74"/>
                </a:lnTo>
                <a:lnTo>
                  <a:pt x="7" y="68"/>
                </a:lnTo>
                <a:lnTo>
                  <a:pt x="5" y="62"/>
                </a:lnTo>
                <a:lnTo>
                  <a:pt x="0" y="54"/>
                </a:lnTo>
                <a:lnTo>
                  <a:pt x="4" y="56"/>
                </a:lnTo>
                <a:lnTo>
                  <a:pt x="8" y="55"/>
                </a:lnTo>
                <a:lnTo>
                  <a:pt x="13" y="55"/>
                </a:lnTo>
                <a:lnTo>
                  <a:pt x="18" y="49"/>
                </a:lnTo>
                <a:lnTo>
                  <a:pt x="18" y="37"/>
                </a:lnTo>
                <a:lnTo>
                  <a:pt x="24" y="40"/>
                </a:lnTo>
                <a:lnTo>
                  <a:pt x="33" y="43"/>
                </a:lnTo>
                <a:lnTo>
                  <a:pt x="35" y="46"/>
                </a:lnTo>
                <a:lnTo>
                  <a:pt x="38" y="48"/>
                </a:lnTo>
                <a:lnTo>
                  <a:pt x="41" y="48"/>
                </a:lnTo>
                <a:lnTo>
                  <a:pt x="44" y="45"/>
                </a:lnTo>
                <a:lnTo>
                  <a:pt x="45" y="43"/>
                </a:lnTo>
                <a:lnTo>
                  <a:pt x="50" y="42"/>
                </a:lnTo>
                <a:lnTo>
                  <a:pt x="54" y="37"/>
                </a:lnTo>
                <a:lnTo>
                  <a:pt x="55" y="33"/>
                </a:lnTo>
                <a:lnTo>
                  <a:pt x="54" y="30"/>
                </a:lnTo>
                <a:lnTo>
                  <a:pt x="52" y="25"/>
                </a:lnTo>
                <a:lnTo>
                  <a:pt x="54" y="22"/>
                </a:lnTo>
                <a:lnTo>
                  <a:pt x="55" y="20"/>
                </a:lnTo>
                <a:lnTo>
                  <a:pt x="54" y="18"/>
                </a:lnTo>
                <a:lnTo>
                  <a:pt x="50" y="14"/>
                </a:lnTo>
                <a:lnTo>
                  <a:pt x="45" y="17"/>
                </a:lnTo>
                <a:lnTo>
                  <a:pt x="38" y="17"/>
                </a:lnTo>
                <a:lnTo>
                  <a:pt x="34" y="12"/>
                </a:lnTo>
                <a:lnTo>
                  <a:pt x="31" y="6"/>
                </a:lnTo>
                <a:lnTo>
                  <a:pt x="29" y="0"/>
                </a:lnTo>
                <a:lnTo>
                  <a:pt x="39" y="1"/>
                </a:lnTo>
                <a:lnTo>
                  <a:pt x="65" y="13"/>
                </a:lnTo>
                <a:lnTo>
                  <a:pt x="65" y="16"/>
                </a:lnTo>
                <a:lnTo>
                  <a:pt x="71" y="21"/>
                </a:lnTo>
                <a:lnTo>
                  <a:pt x="76" y="22"/>
                </a:lnTo>
                <a:lnTo>
                  <a:pt x="82" y="24"/>
                </a:lnTo>
                <a:lnTo>
                  <a:pt x="83" y="27"/>
                </a:lnTo>
                <a:lnTo>
                  <a:pt x="82" y="31"/>
                </a:lnTo>
                <a:lnTo>
                  <a:pt x="80" y="35"/>
                </a:lnTo>
                <a:lnTo>
                  <a:pt x="83" y="38"/>
                </a:lnTo>
                <a:lnTo>
                  <a:pt x="86" y="41"/>
                </a:lnTo>
                <a:lnTo>
                  <a:pt x="89" y="35"/>
                </a:lnTo>
                <a:lnTo>
                  <a:pt x="94" y="34"/>
                </a:lnTo>
                <a:lnTo>
                  <a:pt x="94" y="38"/>
                </a:lnTo>
                <a:lnTo>
                  <a:pt x="100" y="40"/>
                </a:lnTo>
                <a:lnTo>
                  <a:pt x="102" y="43"/>
                </a:lnTo>
                <a:lnTo>
                  <a:pt x="98" y="53"/>
                </a:lnTo>
                <a:lnTo>
                  <a:pt x="94" y="53"/>
                </a:lnTo>
                <a:lnTo>
                  <a:pt x="88" y="59"/>
                </a:lnTo>
                <a:lnTo>
                  <a:pt x="86" y="66"/>
                </a:lnTo>
                <a:lnTo>
                  <a:pt x="84" y="72"/>
                </a:lnTo>
                <a:lnTo>
                  <a:pt x="84" y="80"/>
                </a:lnTo>
                <a:lnTo>
                  <a:pt x="81" y="78"/>
                </a:lnTo>
                <a:lnTo>
                  <a:pt x="80" y="84"/>
                </a:lnTo>
                <a:lnTo>
                  <a:pt x="83" y="85"/>
                </a:lnTo>
                <a:lnTo>
                  <a:pt x="82" y="97"/>
                </a:lnTo>
                <a:lnTo>
                  <a:pt x="77" y="105"/>
                </a:lnTo>
                <a:lnTo>
                  <a:pt x="70" y="104"/>
                </a:lnTo>
                <a:lnTo>
                  <a:pt x="65" y="100"/>
                </a:lnTo>
                <a:lnTo>
                  <a:pt x="63" y="94"/>
                </a:lnTo>
                <a:lnTo>
                  <a:pt x="57" y="93"/>
                </a:lnTo>
                <a:lnTo>
                  <a:pt x="54" y="94"/>
                </a:lnTo>
                <a:lnTo>
                  <a:pt x="48" y="100"/>
                </a:lnTo>
                <a:lnTo>
                  <a:pt x="30" y="97"/>
                </a:lnTo>
                <a:lnTo>
                  <a:pt x="27" y="102"/>
                </a:lnTo>
                <a:lnTo>
                  <a:pt x="26" y="106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81" name="Freeform 16">
            <a:extLst>
              <a:ext uri="{FF2B5EF4-FFF2-40B4-BE49-F238E27FC236}">
                <a16:creationId xmlns:a16="http://schemas.microsoft.com/office/drawing/2014/main" id="{DECC00E9-38B3-494C-B9D0-4DF36EBB27F8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616104" y="1872772"/>
            <a:ext cx="1222375" cy="874712"/>
          </a:xfrm>
          <a:custGeom>
            <a:avLst/>
            <a:gdLst>
              <a:gd name="T0" fmla="*/ 68606 w 148"/>
              <a:gd name="T1" fmla="*/ 748647 h 107"/>
              <a:gd name="T2" fmla="*/ 0 w 148"/>
              <a:gd name="T3" fmla="*/ 611395 h 107"/>
              <a:gd name="T4" fmla="*/ 102909 w 148"/>
              <a:gd name="T5" fmla="*/ 561485 h 107"/>
              <a:gd name="T6" fmla="*/ 125777 w 148"/>
              <a:gd name="T7" fmla="*/ 474143 h 107"/>
              <a:gd name="T8" fmla="*/ 285857 w 148"/>
              <a:gd name="T9" fmla="*/ 499098 h 107"/>
              <a:gd name="T10" fmla="*/ 354463 w 148"/>
              <a:gd name="T11" fmla="*/ 573963 h 107"/>
              <a:gd name="T12" fmla="*/ 457372 w 148"/>
              <a:gd name="T13" fmla="*/ 673782 h 107"/>
              <a:gd name="T14" fmla="*/ 503109 w 148"/>
              <a:gd name="T15" fmla="*/ 698737 h 107"/>
              <a:gd name="T16" fmla="*/ 434503 w 148"/>
              <a:gd name="T17" fmla="*/ 736169 h 107"/>
              <a:gd name="T18" fmla="*/ 411634 w 148"/>
              <a:gd name="T19" fmla="*/ 811034 h 107"/>
              <a:gd name="T20" fmla="*/ 445937 w 148"/>
              <a:gd name="T21" fmla="*/ 811034 h 107"/>
              <a:gd name="T22" fmla="*/ 514543 w 148"/>
              <a:gd name="T23" fmla="*/ 761124 h 107"/>
              <a:gd name="T24" fmla="*/ 525977 w 148"/>
              <a:gd name="T25" fmla="*/ 723692 h 107"/>
              <a:gd name="T26" fmla="*/ 811835 w 148"/>
              <a:gd name="T27" fmla="*/ 885899 h 107"/>
              <a:gd name="T28" fmla="*/ 891875 w 148"/>
              <a:gd name="T29" fmla="*/ 835989 h 107"/>
              <a:gd name="T30" fmla="*/ 926178 w 148"/>
              <a:gd name="T31" fmla="*/ 835989 h 107"/>
              <a:gd name="T32" fmla="*/ 949046 w 148"/>
              <a:gd name="T33" fmla="*/ 811034 h 107"/>
              <a:gd name="T34" fmla="*/ 1017652 w 148"/>
              <a:gd name="T35" fmla="*/ 811034 h 107"/>
              <a:gd name="T36" fmla="*/ 994783 w 148"/>
              <a:gd name="T37" fmla="*/ 761124 h 107"/>
              <a:gd name="T38" fmla="*/ 1040520 w 148"/>
              <a:gd name="T39" fmla="*/ 786079 h 107"/>
              <a:gd name="T40" fmla="*/ 1051955 w 148"/>
              <a:gd name="T41" fmla="*/ 723692 h 107"/>
              <a:gd name="T42" fmla="*/ 1051955 w 148"/>
              <a:gd name="T43" fmla="*/ 636350 h 107"/>
              <a:gd name="T44" fmla="*/ 994783 w 148"/>
              <a:gd name="T45" fmla="*/ 549008 h 107"/>
              <a:gd name="T46" fmla="*/ 960480 w 148"/>
              <a:gd name="T47" fmla="*/ 449188 h 107"/>
              <a:gd name="T48" fmla="*/ 926178 w 148"/>
              <a:gd name="T49" fmla="*/ 386801 h 107"/>
              <a:gd name="T50" fmla="*/ 891875 w 148"/>
              <a:gd name="T51" fmla="*/ 311936 h 107"/>
              <a:gd name="T52" fmla="*/ 926178 w 148"/>
              <a:gd name="T53" fmla="*/ 224594 h 107"/>
              <a:gd name="T54" fmla="*/ 994783 w 148"/>
              <a:gd name="T55" fmla="*/ 149729 h 107"/>
              <a:gd name="T56" fmla="*/ 1063389 w 148"/>
              <a:gd name="T57" fmla="*/ 124774 h 107"/>
              <a:gd name="T58" fmla="*/ 1394983 w 148"/>
              <a:gd name="T59" fmla="*/ 311936 h 107"/>
              <a:gd name="T60" fmla="*/ 1692275 w 148"/>
              <a:gd name="T61" fmla="*/ 461666 h 107"/>
              <a:gd name="T62" fmla="*/ 1520761 w 148"/>
              <a:gd name="T63" fmla="*/ 586440 h 107"/>
              <a:gd name="T64" fmla="*/ 1440720 w 148"/>
              <a:gd name="T65" fmla="*/ 661305 h 107"/>
              <a:gd name="T66" fmla="*/ 1383549 w 148"/>
              <a:gd name="T67" fmla="*/ 835989 h 107"/>
              <a:gd name="T68" fmla="*/ 1314943 w 148"/>
              <a:gd name="T69" fmla="*/ 898376 h 107"/>
              <a:gd name="T70" fmla="*/ 1120560 w 148"/>
              <a:gd name="T71" fmla="*/ 985719 h 107"/>
              <a:gd name="T72" fmla="*/ 1063389 w 148"/>
              <a:gd name="T73" fmla="*/ 1135448 h 107"/>
              <a:gd name="T74" fmla="*/ 983349 w 148"/>
              <a:gd name="T75" fmla="*/ 1335087 h 107"/>
              <a:gd name="T76" fmla="*/ 903309 w 148"/>
              <a:gd name="T77" fmla="*/ 1285177 h 107"/>
              <a:gd name="T78" fmla="*/ 834703 w 148"/>
              <a:gd name="T79" fmla="*/ 1210313 h 107"/>
              <a:gd name="T80" fmla="*/ 743229 w 148"/>
              <a:gd name="T81" fmla="*/ 1297655 h 107"/>
              <a:gd name="T82" fmla="*/ 674623 w 148"/>
              <a:gd name="T83" fmla="*/ 1222790 h 107"/>
              <a:gd name="T84" fmla="*/ 708926 w 148"/>
              <a:gd name="T85" fmla="*/ 1122970 h 107"/>
              <a:gd name="T86" fmla="*/ 628886 w 148"/>
              <a:gd name="T87" fmla="*/ 1060583 h 107"/>
              <a:gd name="T88" fmla="*/ 503109 w 148"/>
              <a:gd name="T89" fmla="*/ 985719 h 107"/>
              <a:gd name="T90" fmla="*/ 205817 w 148"/>
              <a:gd name="T91" fmla="*/ 798557 h 107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48"/>
              <a:gd name="T139" fmla="*/ 0 h 107"/>
              <a:gd name="T140" fmla="*/ 148 w 148"/>
              <a:gd name="T141" fmla="*/ 107 h 107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48" h="107">
                <a:moveTo>
                  <a:pt x="8" y="63"/>
                </a:moveTo>
                <a:lnTo>
                  <a:pt x="6" y="60"/>
                </a:lnTo>
                <a:lnTo>
                  <a:pt x="1" y="59"/>
                </a:lnTo>
                <a:lnTo>
                  <a:pt x="0" y="49"/>
                </a:lnTo>
                <a:lnTo>
                  <a:pt x="5" y="48"/>
                </a:lnTo>
                <a:lnTo>
                  <a:pt x="9" y="45"/>
                </a:lnTo>
                <a:lnTo>
                  <a:pt x="10" y="42"/>
                </a:lnTo>
                <a:lnTo>
                  <a:pt x="11" y="38"/>
                </a:lnTo>
                <a:lnTo>
                  <a:pt x="20" y="38"/>
                </a:lnTo>
                <a:lnTo>
                  <a:pt x="25" y="40"/>
                </a:lnTo>
                <a:lnTo>
                  <a:pt x="29" y="43"/>
                </a:lnTo>
                <a:lnTo>
                  <a:pt x="31" y="46"/>
                </a:lnTo>
                <a:lnTo>
                  <a:pt x="31" y="49"/>
                </a:lnTo>
                <a:lnTo>
                  <a:pt x="40" y="54"/>
                </a:lnTo>
                <a:lnTo>
                  <a:pt x="43" y="54"/>
                </a:lnTo>
                <a:lnTo>
                  <a:pt x="44" y="56"/>
                </a:lnTo>
                <a:lnTo>
                  <a:pt x="43" y="58"/>
                </a:lnTo>
                <a:lnTo>
                  <a:pt x="38" y="59"/>
                </a:lnTo>
                <a:lnTo>
                  <a:pt x="37" y="63"/>
                </a:lnTo>
                <a:lnTo>
                  <a:pt x="36" y="65"/>
                </a:lnTo>
                <a:lnTo>
                  <a:pt x="36" y="68"/>
                </a:lnTo>
                <a:lnTo>
                  <a:pt x="39" y="65"/>
                </a:lnTo>
                <a:lnTo>
                  <a:pt x="41" y="63"/>
                </a:lnTo>
                <a:lnTo>
                  <a:pt x="45" y="61"/>
                </a:lnTo>
                <a:lnTo>
                  <a:pt x="46" y="60"/>
                </a:lnTo>
                <a:lnTo>
                  <a:pt x="46" y="58"/>
                </a:lnTo>
                <a:lnTo>
                  <a:pt x="48" y="58"/>
                </a:lnTo>
                <a:lnTo>
                  <a:pt x="71" y="71"/>
                </a:lnTo>
                <a:lnTo>
                  <a:pt x="77" y="71"/>
                </a:lnTo>
                <a:lnTo>
                  <a:pt x="78" y="67"/>
                </a:lnTo>
                <a:lnTo>
                  <a:pt x="79" y="65"/>
                </a:lnTo>
                <a:lnTo>
                  <a:pt x="81" y="67"/>
                </a:lnTo>
                <a:lnTo>
                  <a:pt x="83" y="68"/>
                </a:lnTo>
                <a:lnTo>
                  <a:pt x="83" y="65"/>
                </a:lnTo>
                <a:lnTo>
                  <a:pt x="87" y="67"/>
                </a:lnTo>
                <a:lnTo>
                  <a:pt x="89" y="65"/>
                </a:lnTo>
                <a:lnTo>
                  <a:pt x="87" y="63"/>
                </a:lnTo>
                <a:lnTo>
                  <a:pt x="87" y="61"/>
                </a:lnTo>
                <a:lnTo>
                  <a:pt x="90" y="60"/>
                </a:lnTo>
                <a:lnTo>
                  <a:pt x="91" y="63"/>
                </a:lnTo>
                <a:lnTo>
                  <a:pt x="94" y="61"/>
                </a:lnTo>
                <a:lnTo>
                  <a:pt x="92" y="58"/>
                </a:lnTo>
                <a:lnTo>
                  <a:pt x="93" y="56"/>
                </a:lnTo>
                <a:lnTo>
                  <a:pt x="92" y="51"/>
                </a:lnTo>
                <a:lnTo>
                  <a:pt x="90" y="47"/>
                </a:lnTo>
                <a:lnTo>
                  <a:pt x="87" y="44"/>
                </a:lnTo>
                <a:lnTo>
                  <a:pt x="86" y="40"/>
                </a:lnTo>
                <a:lnTo>
                  <a:pt x="84" y="36"/>
                </a:lnTo>
                <a:lnTo>
                  <a:pt x="82" y="34"/>
                </a:lnTo>
                <a:lnTo>
                  <a:pt x="81" y="31"/>
                </a:lnTo>
                <a:lnTo>
                  <a:pt x="79" y="29"/>
                </a:lnTo>
                <a:lnTo>
                  <a:pt x="78" y="25"/>
                </a:lnTo>
                <a:lnTo>
                  <a:pt x="79" y="22"/>
                </a:lnTo>
                <a:lnTo>
                  <a:pt x="81" y="18"/>
                </a:lnTo>
                <a:lnTo>
                  <a:pt x="84" y="15"/>
                </a:lnTo>
                <a:lnTo>
                  <a:pt x="87" y="12"/>
                </a:lnTo>
                <a:lnTo>
                  <a:pt x="90" y="11"/>
                </a:lnTo>
                <a:lnTo>
                  <a:pt x="93" y="10"/>
                </a:lnTo>
                <a:lnTo>
                  <a:pt x="103" y="0"/>
                </a:lnTo>
                <a:lnTo>
                  <a:pt x="122" y="25"/>
                </a:lnTo>
                <a:lnTo>
                  <a:pt x="136" y="36"/>
                </a:lnTo>
                <a:lnTo>
                  <a:pt x="148" y="37"/>
                </a:lnTo>
                <a:lnTo>
                  <a:pt x="136" y="36"/>
                </a:lnTo>
                <a:lnTo>
                  <a:pt x="133" y="47"/>
                </a:lnTo>
                <a:lnTo>
                  <a:pt x="129" y="49"/>
                </a:lnTo>
                <a:lnTo>
                  <a:pt x="126" y="53"/>
                </a:lnTo>
                <a:lnTo>
                  <a:pt x="128" y="58"/>
                </a:lnTo>
                <a:lnTo>
                  <a:pt x="121" y="67"/>
                </a:lnTo>
                <a:lnTo>
                  <a:pt x="120" y="73"/>
                </a:lnTo>
                <a:lnTo>
                  <a:pt x="115" y="72"/>
                </a:lnTo>
                <a:lnTo>
                  <a:pt x="115" y="81"/>
                </a:lnTo>
                <a:lnTo>
                  <a:pt x="98" y="79"/>
                </a:lnTo>
                <a:lnTo>
                  <a:pt x="95" y="83"/>
                </a:lnTo>
                <a:lnTo>
                  <a:pt x="93" y="91"/>
                </a:lnTo>
                <a:lnTo>
                  <a:pt x="90" y="92"/>
                </a:lnTo>
                <a:lnTo>
                  <a:pt x="86" y="107"/>
                </a:lnTo>
                <a:lnTo>
                  <a:pt x="82" y="107"/>
                </a:lnTo>
                <a:lnTo>
                  <a:pt x="79" y="103"/>
                </a:lnTo>
                <a:lnTo>
                  <a:pt x="73" y="101"/>
                </a:lnTo>
                <a:lnTo>
                  <a:pt x="73" y="97"/>
                </a:lnTo>
                <a:lnTo>
                  <a:pt x="68" y="98"/>
                </a:lnTo>
                <a:lnTo>
                  <a:pt x="65" y="104"/>
                </a:lnTo>
                <a:lnTo>
                  <a:pt x="62" y="101"/>
                </a:lnTo>
                <a:lnTo>
                  <a:pt x="59" y="98"/>
                </a:lnTo>
                <a:lnTo>
                  <a:pt x="61" y="94"/>
                </a:lnTo>
                <a:lnTo>
                  <a:pt x="62" y="90"/>
                </a:lnTo>
                <a:lnTo>
                  <a:pt x="61" y="87"/>
                </a:lnTo>
                <a:lnTo>
                  <a:pt x="55" y="85"/>
                </a:lnTo>
                <a:lnTo>
                  <a:pt x="50" y="84"/>
                </a:lnTo>
                <a:lnTo>
                  <a:pt x="44" y="79"/>
                </a:lnTo>
                <a:lnTo>
                  <a:pt x="44" y="76"/>
                </a:lnTo>
                <a:lnTo>
                  <a:pt x="18" y="64"/>
                </a:lnTo>
                <a:lnTo>
                  <a:pt x="8" y="63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82" name="Freeform 17">
            <a:extLst>
              <a:ext uri="{FF2B5EF4-FFF2-40B4-BE49-F238E27FC236}">
                <a16:creationId xmlns:a16="http://schemas.microsoft.com/office/drawing/2014/main" id="{E7C3B722-0325-4835-9042-0B7ABBD19462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1363817" y="2388709"/>
            <a:ext cx="601662" cy="736600"/>
          </a:xfrm>
          <a:custGeom>
            <a:avLst/>
            <a:gdLst>
              <a:gd name="T0" fmla="*/ 45668 w 73"/>
              <a:gd name="T1" fmla="*/ 237084 h 93"/>
              <a:gd name="T2" fmla="*/ 148420 w 73"/>
              <a:gd name="T3" fmla="*/ 286996 h 93"/>
              <a:gd name="T4" fmla="*/ 91336 w 73"/>
              <a:gd name="T5" fmla="*/ 549036 h 93"/>
              <a:gd name="T6" fmla="*/ 79919 w 73"/>
              <a:gd name="T7" fmla="*/ 648860 h 93"/>
              <a:gd name="T8" fmla="*/ 68502 w 73"/>
              <a:gd name="T9" fmla="*/ 761163 h 93"/>
              <a:gd name="T10" fmla="*/ 45668 w 73"/>
              <a:gd name="T11" fmla="*/ 823554 h 93"/>
              <a:gd name="T12" fmla="*/ 0 w 73"/>
              <a:gd name="T13" fmla="*/ 910900 h 93"/>
              <a:gd name="T14" fmla="*/ 11417 w 73"/>
              <a:gd name="T15" fmla="*/ 960813 h 93"/>
              <a:gd name="T16" fmla="*/ 102753 w 73"/>
              <a:gd name="T17" fmla="*/ 1010725 h 93"/>
              <a:gd name="T18" fmla="*/ 148420 w 73"/>
              <a:gd name="T19" fmla="*/ 1010725 h 93"/>
              <a:gd name="T20" fmla="*/ 171254 w 73"/>
              <a:gd name="T21" fmla="*/ 1060637 h 93"/>
              <a:gd name="T22" fmla="*/ 182671 w 73"/>
              <a:gd name="T23" fmla="*/ 1123028 h 93"/>
              <a:gd name="T24" fmla="*/ 239756 w 73"/>
              <a:gd name="T25" fmla="*/ 1160462 h 93"/>
              <a:gd name="T26" fmla="*/ 274007 w 73"/>
              <a:gd name="T27" fmla="*/ 1060637 h 93"/>
              <a:gd name="T28" fmla="*/ 331092 w 73"/>
              <a:gd name="T29" fmla="*/ 973291 h 93"/>
              <a:gd name="T30" fmla="*/ 331092 w 73"/>
              <a:gd name="T31" fmla="*/ 923378 h 93"/>
              <a:gd name="T32" fmla="*/ 376760 w 73"/>
              <a:gd name="T33" fmla="*/ 898422 h 93"/>
              <a:gd name="T34" fmla="*/ 433844 w 73"/>
              <a:gd name="T35" fmla="*/ 898422 h 93"/>
              <a:gd name="T36" fmla="*/ 525180 w 73"/>
              <a:gd name="T37" fmla="*/ 711251 h 93"/>
              <a:gd name="T38" fmla="*/ 570848 w 73"/>
              <a:gd name="T39" fmla="*/ 711251 h 93"/>
              <a:gd name="T40" fmla="*/ 616516 w 73"/>
              <a:gd name="T41" fmla="*/ 748685 h 93"/>
              <a:gd name="T42" fmla="*/ 650767 w 73"/>
              <a:gd name="T43" fmla="*/ 748685 h 93"/>
              <a:gd name="T44" fmla="*/ 673600 w 73"/>
              <a:gd name="T45" fmla="*/ 686295 h 93"/>
              <a:gd name="T46" fmla="*/ 730685 w 73"/>
              <a:gd name="T47" fmla="*/ 686295 h 93"/>
              <a:gd name="T48" fmla="*/ 719268 w 73"/>
              <a:gd name="T49" fmla="*/ 586470 h 93"/>
              <a:gd name="T50" fmla="*/ 753519 w 73"/>
              <a:gd name="T51" fmla="*/ 511602 h 93"/>
              <a:gd name="T52" fmla="*/ 730685 w 73"/>
              <a:gd name="T53" fmla="*/ 436733 h 93"/>
              <a:gd name="T54" fmla="*/ 799187 w 73"/>
              <a:gd name="T55" fmla="*/ 336908 h 93"/>
              <a:gd name="T56" fmla="*/ 833438 w 73"/>
              <a:gd name="T57" fmla="*/ 274518 h 93"/>
              <a:gd name="T58" fmla="*/ 810604 w 73"/>
              <a:gd name="T59" fmla="*/ 237084 h 93"/>
              <a:gd name="T60" fmla="*/ 753519 w 73"/>
              <a:gd name="T61" fmla="*/ 162215 h 93"/>
              <a:gd name="T62" fmla="*/ 650767 w 73"/>
              <a:gd name="T63" fmla="*/ 112303 h 93"/>
              <a:gd name="T64" fmla="*/ 365343 w 73"/>
              <a:gd name="T65" fmla="*/ 12478 h 93"/>
              <a:gd name="T66" fmla="*/ 308258 w 73"/>
              <a:gd name="T67" fmla="*/ 0 h 93"/>
              <a:gd name="T68" fmla="*/ 308258 w 73"/>
              <a:gd name="T69" fmla="*/ 112303 h 93"/>
              <a:gd name="T70" fmla="*/ 114170 w 73"/>
              <a:gd name="T71" fmla="*/ 87347 h 93"/>
              <a:gd name="T72" fmla="*/ 79919 w 73"/>
              <a:gd name="T73" fmla="*/ 137259 h 93"/>
              <a:gd name="T74" fmla="*/ 57085 w 73"/>
              <a:gd name="T75" fmla="*/ 237084 h 93"/>
              <a:gd name="T76" fmla="*/ 45668 w 73"/>
              <a:gd name="T77" fmla="*/ 237084 h 93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73"/>
              <a:gd name="T118" fmla="*/ 0 h 93"/>
              <a:gd name="T119" fmla="*/ 73 w 73"/>
              <a:gd name="T120" fmla="*/ 93 h 93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73" h="93">
                <a:moveTo>
                  <a:pt x="4" y="19"/>
                </a:moveTo>
                <a:lnTo>
                  <a:pt x="13" y="23"/>
                </a:lnTo>
                <a:lnTo>
                  <a:pt x="8" y="44"/>
                </a:lnTo>
                <a:lnTo>
                  <a:pt x="7" y="52"/>
                </a:lnTo>
                <a:lnTo>
                  <a:pt x="6" y="61"/>
                </a:lnTo>
                <a:lnTo>
                  <a:pt x="4" y="66"/>
                </a:lnTo>
                <a:lnTo>
                  <a:pt x="0" y="73"/>
                </a:lnTo>
                <a:lnTo>
                  <a:pt x="1" y="77"/>
                </a:lnTo>
                <a:lnTo>
                  <a:pt x="9" y="81"/>
                </a:lnTo>
                <a:lnTo>
                  <a:pt x="13" y="81"/>
                </a:lnTo>
                <a:lnTo>
                  <a:pt x="15" y="85"/>
                </a:lnTo>
                <a:lnTo>
                  <a:pt x="16" y="90"/>
                </a:lnTo>
                <a:lnTo>
                  <a:pt x="21" y="93"/>
                </a:lnTo>
                <a:lnTo>
                  <a:pt x="24" y="85"/>
                </a:lnTo>
                <a:lnTo>
                  <a:pt x="29" y="78"/>
                </a:lnTo>
                <a:lnTo>
                  <a:pt x="29" y="74"/>
                </a:lnTo>
                <a:lnTo>
                  <a:pt x="33" y="72"/>
                </a:lnTo>
                <a:lnTo>
                  <a:pt x="38" y="72"/>
                </a:lnTo>
                <a:lnTo>
                  <a:pt x="46" y="57"/>
                </a:lnTo>
                <a:lnTo>
                  <a:pt x="50" y="57"/>
                </a:lnTo>
                <a:lnTo>
                  <a:pt x="54" y="60"/>
                </a:lnTo>
                <a:lnTo>
                  <a:pt x="57" y="60"/>
                </a:lnTo>
                <a:lnTo>
                  <a:pt x="59" y="55"/>
                </a:lnTo>
                <a:lnTo>
                  <a:pt x="64" y="55"/>
                </a:lnTo>
                <a:lnTo>
                  <a:pt x="63" y="47"/>
                </a:lnTo>
                <a:lnTo>
                  <a:pt x="66" y="41"/>
                </a:lnTo>
                <a:lnTo>
                  <a:pt x="64" y="35"/>
                </a:lnTo>
                <a:lnTo>
                  <a:pt x="70" y="27"/>
                </a:lnTo>
                <a:lnTo>
                  <a:pt x="73" y="22"/>
                </a:lnTo>
                <a:lnTo>
                  <a:pt x="71" y="19"/>
                </a:lnTo>
                <a:lnTo>
                  <a:pt x="66" y="13"/>
                </a:lnTo>
                <a:lnTo>
                  <a:pt x="57" y="9"/>
                </a:lnTo>
                <a:lnTo>
                  <a:pt x="32" y="1"/>
                </a:lnTo>
                <a:lnTo>
                  <a:pt x="27" y="0"/>
                </a:lnTo>
                <a:lnTo>
                  <a:pt x="27" y="9"/>
                </a:lnTo>
                <a:lnTo>
                  <a:pt x="10" y="7"/>
                </a:lnTo>
                <a:lnTo>
                  <a:pt x="7" y="11"/>
                </a:lnTo>
                <a:lnTo>
                  <a:pt x="5" y="19"/>
                </a:lnTo>
                <a:lnTo>
                  <a:pt x="4" y="19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83" name="Freeform 18">
            <a:extLst>
              <a:ext uri="{FF2B5EF4-FFF2-40B4-BE49-F238E27FC236}">
                <a16:creationId xmlns:a16="http://schemas.microsoft.com/office/drawing/2014/main" id="{9AFD2F70-F05B-41E6-8E99-78CF3E9FAA1F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741517" y="3396772"/>
            <a:ext cx="404812" cy="603250"/>
          </a:xfrm>
          <a:custGeom>
            <a:avLst/>
            <a:gdLst>
              <a:gd name="T0" fmla="*/ 217293 w 49"/>
              <a:gd name="T1" fmla="*/ 950913 h 76"/>
              <a:gd name="T2" fmla="*/ 194420 w 49"/>
              <a:gd name="T3" fmla="*/ 938401 h 76"/>
              <a:gd name="T4" fmla="*/ 182984 w 49"/>
              <a:gd name="T5" fmla="*/ 888353 h 76"/>
              <a:gd name="T6" fmla="*/ 148674 w 49"/>
              <a:gd name="T7" fmla="*/ 863329 h 76"/>
              <a:gd name="T8" fmla="*/ 102928 w 49"/>
              <a:gd name="T9" fmla="*/ 863329 h 76"/>
              <a:gd name="T10" fmla="*/ 125801 w 49"/>
              <a:gd name="T11" fmla="*/ 825793 h 76"/>
              <a:gd name="T12" fmla="*/ 125801 w 49"/>
              <a:gd name="T13" fmla="*/ 788257 h 76"/>
              <a:gd name="T14" fmla="*/ 68619 w 49"/>
              <a:gd name="T15" fmla="*/ 775745 h 76"/>
              <a:gd name="T16" fmla="*/ 68619 w 49"/>
              <a:gd name="T17" fmla="*/ 675649 h 76"/>
              <a:gd name="T18" fmla="*/ 45746 w 49"/>
              <a:gd name="T19" fmla="*/ 625601 h 76"/>
              <a:gd name="T20" fmla="*/ 22873 w 49"/>
              <a:gd name="T21" fmla="*/ 575553 h 76"/>
              <a:gd name="T22" fmla="*/ 0 w 49"/>
              <a:gd name="T23" fmla="*/ 512993 h 76"/>
              <a:gd name="T24" fmla="*/ 0 w 49"/>
              <a:gd name="T25" fmla="*/ 300288 h 76"/>
              <a:gd name="T26" fmla="*/ 45746 w 49"/>
              <a:gd name="T27" fmla="*/ 237728 h 76"/>
              <a:gd name="T28" fmla="*/ 45746 w 49"/>
              <a:gd name="T29" fmla="*/ 150144 h 76"/>
              <a:gd name="T30" fmla="*/ 68619 w 49"/>
              <a:gd name="T31" fmla="*/ 125120 h 76"/>
              <a:gd name="T32" fmla="*/ 114365 w 49"/>
              <a:gd name="T33" fmla="*/ 150144 h 76"/>
              <a:gd name="T34" fmla="*/ 171547 w 49"/>
              <a:gd name="T35" fmla="*/ 125120 h 76"/>
              <a:gd name="T36" fmla="*/ 205856 w 49"/>
              <a:gd name="T37" fmla="*/ 187680 h 76"/>
              <a:gd name="T38" fmla="*/ 228729 w 49"/>
              <a:gd name="T39" fmla="*/ 100096 h 76"/>
              <a:gd name="T40" fmla="*/ 263039 w 49"/>
              <a:gd name="T41" fmla="*/ 87584 h 76"/>
              <a:gd name="T42" fmla="*/ 274475 w 49"/>
              <a:gd name="T43" fmla="*/ 37536 h 76"/>
              <a:gd name="T44" fmla="*/ 308785 w 49"/>
              <a:gd name="T45" fmla="*/ 0 h 76"/>
              <a:gd name="T46" fmla="*/ 354531 w 49"/>
              <a:gd name="T47" fmla="*/ 0 h 76"/>
              <a:gd name="T48" fmla="*/ 400276 w 49"/>
              <a:gd name="T49" fmla="*/ 37536 h 76"/>
              <a:gd name="T50" fmla="*/ 411713 w 49"/>
              <a:gd name="T51" fmla="*/ 87584 h 76"/>
              <a:gd name="T52" fmla="*/ 423149 w 49"/>
              <a:gd name="T53" fmla="*/ 137632 h 76"/>
              <a:gd name="T54" fmla="*/ 457459 w 49"/>
              <a:gd name="T55" fmla="*/ 187680 h 76"/>
              <a:gd name="T56" fmla="*/ 480332 w 49"/>
              <a:gd name="T57" fmla="*/ 150144 h 76"/>
              <a:gd name="T58" fmla="*/ 526078 w 49"/>
              <a:gd name="T59" fmla="*/ 162656 h 76"/>
              <a:gd name="T60" fmla="*/ 537514 w 49"/>
              <a:gd name="T61" fmla="*/ 300288 h 76"/>
              <a:gd name="T62" fmla="*/ 537514 w 49"/>
              <a:gd name="T63" fmla="*/ 362848 h 76"/>
              <a:gd name="T64" fmla="*/ 514641 w 49"/>
              <a:gd name="T65" fmla="*/ 412896 h 76"/>
              <a:gd name="T66" fmla="*/ 560387 w 49"/>
              <a:gd name="T67" fmla="*/ 450432 h 76"/>
              <a:gd name="T68" fmla="*/ 514641 w 49"/>
              <a:gd name="T69" fmla="*/ 563041 h 76"/>
              <a:gd name="T70" fmla="*/ 457459 w 49"/>
              <a:gd name="T71" fmla="*/ 625601 h 76"/>
              <a:gd name="T72" fmla="*/ 320221 w 49"/>
              <a:gd name="T73" fmla="*/ 675649 h 76"/>
              <a:gd name="T74" fmla="*/ 240166 w 49"/>
              <a:gd name="T75" fmla="*/ 750721 h 76"/>
              <a:gd name="T76" fmla="*/ 217293 w 49"/>
              <a:gd name="T77" fmla="*/ 850817 h 76"/>
              <a:gd name="T78" fmla="*/ 217293 w 49"/>
              <a:gd name="T79" fmla="*/ 950913 h 7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49"/>
              <a:gd name="T121" fmla="*/ 0 h 76"/>
              <a:gd name="T122" fmla="*/ 49 w 49"/>
              <a:gd name="T123" fmla="*/ 76 h 7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49" h="76">
                <a:moveTo>
                  <a:pt x="19" y="76"/>
                </a:moveTo>
                <a:lnTo>
                  <a:pt x="17" y="75"/>
                </a:lnTo>
                <a:lnTo>
                  <a:pt x="16" y="71"/>
                </a:lnTo>
                <a:lnTo>
                  <a:pt x="13" y="69"/>
                </a:lnTo>
                <a:lnTo>
                  <a:pt x="9" y="69"/>
                </a:lnTo>
                <a:lnTo>
                  <a:pt x="11" y="66"/>
                </a:lnTo>
                <a:lnTo>
                  <a:pt x="11" y="63"/>
                </a:lnTo>
                <a:lnTo>
                  <a:pt x="6" y="62"/>
                </a:lnTo>
                <a:lnTo>
                  <a:pt x="6" y="54"/>
                </a:lnTo>
                <a:lnTo>
                  <a:pt x="4" y="50"/>
                </a:lnTo>
                <a:lnTo>
                  <a:pt x="2" y="46"/>
                </a:lnTo>
                <a:lnTo>
                  <a:pt x="0" y="41"/>
                </a:lnTo>
                <a:lnTo>
                  <a:pt x="0" y="24"/>
                </a:lnTo>
                <a:lnTo>
                  <a:pt x="4" y="19"/>
                </a:lnTo>
                <a:lnTo>
                  <a:pt x="4" y="12"/>
                </a:lnTo>
                <a:lnTo>
                  <a:pt x="6" y="10"/>
                </a:lnTo>
                <a:lnTo>
                  <a:pt x="10" y="12"/>
                </a:lnTo>
                <a:lnTo>
                  <a:pt x="15" y="10"/>
                </a:lnTo>
                <a:lnTo>
                  <a:pt x="18" y="15"/>
                </a:lnTo>
                <a:lnTo>
                  <a:pt x="20" y="8"/>
                </a:lnTo>
                <a:lnTo>
                  <a:pt x="23" y="7"/>
                </a:lnTo>
                <a:lnTo>
                  <a:pt x="24" y="3"/>
                </a:lnTo>
                <a:lnTo>
                  <a:pt x="27" y="0"/>
                </a:lnTo>
                <a:lnTo>
                  <a:pt x="31" y="0"/>
                </a:lnTo>
                <a:lnTo>
                  <a:pt x="35" y="3"/>
                </a:lnTo>
                <a:lnTo>
                  <a:pt x="36" y="7"/>
                </a:lnTo>
                <a:lnTo>
                  <a:pt x="37" y="11"/>
                </a:lnTo>
                <a:lnTo>
                  <a:pt x="40" y="15"/>
                </a:lnTo>
                <a:lnTo>
                  <a:pt x="42" y="12"/>
                </a:lnTo>
                <a:lnTo>
                  <a:pt x="46" y="13"/>
                </a:lnTo>
                <a:lnTo>
                  <a:pt x="47" y="24"/>
                </a:lnTo>
                <a:lnTo>
                  <a:pt x="47" y="29"/>
                </a:lnTo>
                <a:lnTo>
                  <a:pt x="45" y="33"/>
                </a:lnTo>
                <a:lnTo>
                  <a:pt x="49" y="36"/>
                </a:lnTo>
                <a:lnTo>
                  <a:pt x="45" y="45"/>
                </a:lnTo>
                <a:lnTo>
                  <a:pt x="40" y="50"/>
                </a:lnTo>
                <a:lnTo>
                  <a:pt x="28" y="54"/>
                </a:lnTo>
                <a:lnTo>
                  <a:pt x="21" y="60"/>
                </a:lnTo>
                <a:lnTo>
                  <a:pt x="19" y="68"/>
                </a:lnTo>
                <a:lnTo>
                  <a:pt x="19" y="76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84" name="Freeform 19">
            <a:extLst>
              <a:ext uri="{FF2B5EF4-FFF2-40B4-BE49-F238E27FC236}">
                <a16:creationId xmlns:a16="http://schemas.microsoft.com/office/drawing/2014/main" id="{3B839E0C-46AF-42A2-A356-E471692CAA7D}"/>
              </a:ext>
            </a:extLst>
          </p:cNvPr>
          <p:cNvSpPr>
            <a:spLocks noChangeAspect="1" noEditPoints="1"/>
          </p:cNvSpPr>
          <p:nvPr>
            <p:custDataLst>
              <p:tags r:id="rId13"/>
            </p:custDataLst>
          </p:nvPr>
        </p:nvSpPr>
        <p:spPr bwMode="auto">
          <a:xfrm>
            <a:off x="670079" y="2503009"/>
            <a:ext cx="893763" cy="1036638"/>
          </a:xfrm>
          <a:custGeom>
            <a:avLst/>
            <a:gdLst>
              <a:gd name="T0" fmla="*/ 137407 w 108"/>
              <a:gd name="T1" fmla="*/ 1558718 h 131"/>
              <a:gd name="T2" fmla="*/ 114506 w 108"/>
              <a:gd name="T3" fmla="*/ 1483900 h 131"/>
              <a:gd name="T4" fmla="*/ 80154 w 108"/>
              <a:gd name="T5" fmla="*/ 1346733 h 131"/>
              <a:gd name="T6" fmla="*/ 34352 w 108"/>
              <a:gd name="T7" fmla="*/ 1309323 h 131"/>
              <a:gd name="T8" fmla="*/ 57253 w 108"/>
              <a:gd name="T9" fmla="*/ 1284384 h 131"/>
              <a:gd name="T10" fmla="*/ 45802 w 108"/>
              <a:gd name="T11" fmla="*/ 1022519 h 131"/>
              <a:gd name="T12" fmla="*/ 11451 w 108"/>
              <a:gd name="T13" fmla="*/ 972640 h 131"/>
              <a:gd name="T14" fmla="*/ 251913 w 108"/>
              <a:gd name="T15" fmla="*/ 947701 h 131"/>
              <a:gd name="T16" fmla="*/ 354968 w 108"/>
              <a:gd name="T17" fmla="*/ 860413 h 131"/>
              <a:gd name="T18" fmla="*/ 446572 w 108"/>
              <a:gd name="T19" fmla="*/ 947701 h 131"/>
              <a:gd name="T20" fmla="*/ 583979 w 108"/>
              <a:gd name="T21" fmla="*/ 1010050 h 131"/>
              <a:gd name="T22" fmla="*/ 652683 w 108"/>
              <a:gd name="T23" fmla="*/ 760654 h 131"/>
              <a:gd name="T24" fmla="*/ 629782 w 108"/>
              <a:gd name="T25" fmla="*/ 673366 h 131"/>
              <a:gd name="T26" fmla="*/ 664133 w 108"/>
              <a:gd name="T27" fmla="*/ 598548 h 131"/>
              <a:gd name="T28" fmla="*/ 709936 w 108"/>
              <a:gd name="T29" fmla="*/ 436441 h 131"/>
              <a:gd name="T30" fmla="*/ 824441 w 108"/>
              <a:gd name="T31" fmla="*/ 361623 h 131"/>
              <a:gd name="T32" fmla="*/ 881694 w 108"/>
              <a:gd name="T33" fmla="*/ 249395 h 131"/>
              <a:gd name="T34" fmla="*/ 973299 w 108"/>
              <a:gd name="T35" fmla="*/ 62349 h 131"/>
              <a:gd name="T36" fmla="*/ 1099255 w 108"/>
              <a:gd name="T37" fmla="*/ 99758 h 131"/>
              <a:gd name="T38" fmla="*/ 1030552 w 108"/>
              <a:gd name="T39" fmla="*/ 461381 h 131"/>
              <a:gd name="T40" fmla="*/ 996200 w 108"/>
              <a:gd name="T41" fmla="*/ 635957 h 131"/>
              <a:gd name="T42" fmla="*/ 961848 w 108"/>
              <a:gd name="T43" fmla="*/ 773124 h 131"/>
              <a:gd name="T44" fmla="*/ 1099255 w 108"/>
              <a:gd name="T45" fmla="*/ 823003 h 131"/>
              <a:gd name="T46" fmla="*/ 1133607 w 108"/>
              <a:gd name="T47" fmla="*/ 935231 h 131"/>
              <a:gd name="T48" fmla="*/ 1190860 w 108"/>
              <a:gd name="T49" fmla="*/ 972640 h 131"/>
              <a:gd name="T50" fmla="*/ 1236662 w 108"/>
              <a:gd name="T51" fmla="*/ 1072398 h 131"/>
              <a:gd name="T52" fmla="*/ 1156508 w 108"/>
              <a:gd name="T53" fmla="*/ 1197096 h 131"/>
              <a:gd name="T54" fmla="*/ 1076354 w 108"/>
              <a:gd name="T55" fmla="*/ 1321793 h 131"/>
              <a:gd name="T56" fmla="*/ 1076354 w 108"/>
              <a:gd name="T57" fmla="*/ 1434021 h 131"/>
              <a:gd name="T58" fmla="*/ 1064903 w 108"/>
              <a:gd name="T59" fmla="*/ 1521309 h 131"/>
              <a:gd name="T60" fmla="*/ 1030552 w 108"/>
              <a:gd name="T61" fmla="*/ 1446490 h 131"/>
              <a:gd name="T62" fmla="*/ 1019101 w 108"/>
              <a:gd name="T63" fmla="*/ 1321793 h 131"/>
              <a:gd name="T64" fmla="*/ 961848 w 108"/>
              <a:gd name="T65" fmla="*/ 1222035 h 131"/>
              <a:gd name="T66" fmla="*/ 755738 w 108"/>
              <a:gd name="T67" fmla="*/ 1197096 h 131"/>
              <a:gd name="T68" fmla="*/ 709936 w 108"/>
              <a:gd name="T69" fmla="*/ 1246975 h 131"/>
              <a:gd name="T70" fmla="*/ 755738 w 108"/>
              <a:gd name="T71" fmla="*/ 1334263 h 131"/>
              <a:gd name="T72" fmla="*/ 664133 w 108"/>
              <a:gd name="T73" fmla="*/ 1471430 h 131"/>
              <a:gd name="T74" fmla="*/ 629782 w 108"/>
              <a:gd name="T75" fmla="*/ 1546248 h 131"/>
              <a:gd name="T76" fmla="*/ 549628 w 108"/>
              <a:gd name="T77" fmla="*/ 1596128 h 131"/>
              <a:gd name="T78" fmla="*/ 492375 w 108"/>
              <a:gd name="T79" fmla="*/ 1583658 h 131"/>
              <a:gd name="T80" fmla="*/ 469474 w 108"/>
              <a:gd name="T81" fmla="*/ 1483900 h 131"/>
              <a:gd name="T82" fmla="*/ 377869 w 108"/>
              <a:gd name="T83" fmla="*/ 1446490 h 131"/>
              <a:gd name="T84" fmla="*/ 332067 w 108"/>
              <a:gd name="T85" fmla="*/ 1533779 h 131"/>
              <a:gd name="T86" fmla="*/ 274814 w 108"/>
              <a:gd name="T87" fmla="*/ 1633537 h 131"/>
              <a:gd name="T88" fmla="*/ 183209 w 108"/>
              <a:gd name="T89" fmla="*/ 1596128 h 131"/>
              <a:gd name="T90" fmla="*/ 1007651 w 108"/>
              <a:gd name="T91" fmla="*/ 49879 h 13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08"/>
              <a:gd name="T139" fmla="*/ 0 h 131"/>
              <a:gd name="T140" fmla="*/ 108 w 108"/>
              <a:gd name="T141" fmla="*/ 131 h 13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08" h="131">
                <a:moveTo>
                  <a:pt x="12" y="126"/>
                </a:moveTo>
                <a:lnTo>
                  <a:pt x="12" y="125"/>
                </a:lnTo>
                <a:lnTo>
                  <a:pt x="12" y="120"/>
                </a:lnTo>
                <a:lnTo>
                  <a:pt x="10" y="119"/>
                </a:lnTo>
                <a:lnTo>
                  <a:pt x="10" y="113"/>
                </a:lnTo>
                <a:lnTo>
                  <a:pt x="7" y="108"/>
                </a:lnTo>
                <a:lnTo>
                  <a:pt x="4" y="108"/>
                </a:lnTo>
                <a:lnTo>
                  <a:pt x="3" y="105"/>
                </a:lnTo>
                <a:lnTo>
                  <a:pt x="3" y="103"/>
                </a:lnTo>
                <a:lnTo>
                  <a:pt x="5" y="103"/>
                </a:lnTo>
                <a:lnTo>
                  <a:pt x="7" y="86"/>
                </a:lnTo>
                <a:lnTo>
                  <a:pt x="4" y="82"/>
                </a:lnTo>
                <a:lnTo>
                  <a:pt x="0" y="82"/>
                </a:lnTo>
                <a:lnTo>
                  <a:pt x="1" y="78"/>
                </a:lnTo>
                <a:lnTo>
                  <a:pt x="4" y="73"/>
                </a:lnTo>
                <a:lnTo>
                  <a:pt x="22" y="76"/>
                </a:lnTo>
                <a:lnTo>
                  <a:pt x="28" y="70"/>
                </a:lnTo>
                <a:lnTo>
                  <a:pt x="31" y="69"/>
                </a:lnTo>
                <a:lnTo>
                  <a:pt x="37" y="70"/>
                </a:lnTo>
                <a:lnTo>
                  <a:pt x="39" y="76"/>
                </a:lnTo>
                <a:lnTo>
                  <a:pt x="44" y="80"/>
                </a:lnTo>
                <a:lnTo>
                  <a:pt x="51" y="81"/>
                </a:lnTo>
                <a:lnTo>
                  <a:pt x="56" y="73"/>
                </a:lnTo>
                <a:lnTo>
                  <a:pt x="57" y="61"/>
                </a:lnTo>
                <a:lnTo>
                  <a:pt x="54" y="60"/>
                </a:lnTo>
                <a:lnTo>
                  <a:pt x="55" y="54"/>
                </a:lnTo>
                <a:lnTo>
                  <a:pt x="58" y="56"/>
                </a:lnTo>
                <a:lnTo>
                  <a:pt x="58" y="48"/>
                </a:lnTo>
                <a:lnTo>
                  <a:pt x="60" y="42"/>
                </a:lnTo>
                <a:lnTo>
                  <a:pt x="62" y="35"/>
                </a:lnTo>
                <a:lnTo>
                  <a:pt x="68" y="29"/>
                </a:lnTo>
                <a:lnTo>
                  <a:pt x="72" y="29"/>
                </a:lnTo>
                <a:lnTo>
                  <a:pt x="76" y="19"/>
                </a:lnTo>
                <a:lnTo>
                  <a:pt x="77" y="20"/>
                </a:lnTo>
                <a:lnTo>
                  <a:pt x="81" y="20"/>
                </a:lnTo>
                <a:lnTo>
                  <a:pt x="85" y="5"/>
                </a:lnTo>
                <a:lnTo>
                  <a:pt x="87" y="4"/>
                </a:lnTo>
                <a:lnTo>
                  <a:pt x="96" y="8"/>
                </a:lnTo>
                <a:lnTo>
                  <a:pt x="91" y="29"/>
                </a:lnTo>
                <a:lnTo>
                  <a:pt x="90" y="37"/>
                </a:lnTo>
                <a:lnTo>
                  <a:pt x="89" y="46"/>
                </a:lnTo>
                <a:lnTo>
                  <a:pt x="87" y="51"/>
                </a:lnTo>
                <a:lnTo>
                  <a:pt x="83" y="58"/>
                </a:lnTo>
                <a:lnTo>
                  <a:pt x="84" y="62"/>
                </a:lnTo>
                <a:lnTo>
                  <a:pt x="92" y="66"/>
                </a:lnTo>
                <a:lnTo>
                  <a:pt x="96" y="66"/>
                </a:lnTo>
                <a:lnTo>
                  <a:pt x="98" y="70"/>
                </a:lnTo>
                <a:lnTo>
                  <a:pt x="99" y="75"/>
                </a:lnTo>
                <a:lnTo>
                  <a:pt x="104" y="78"/>
                </a:lnTo>
                <a:lnTo>
                  <a:pt x="104" y="84"/>
                </a:lnTo>
                <a:lnTo>
                  <a:pt x="108" y="86"/>
                </a:lnTo>
                <a:lnTo>
                  <a:pt x="107" y="90"/>
                </a:lnTo>
                <a:lnTo>
                  <a:pt x="101" y="96"/>
                </a:lnTo>
                <a:lnTo>
                  <a:pt x="96" y="101"/>
                </a:lnTo>
                <a:lnTo>
                  <a:pt x="94" y="106"/>
                </a:lnTo>
                <a:lnTo>
                  <a:pt x="96" y="111"/>
                </a:lnTo>
                <a:lnTo>
                  <a:pt x="94" y="115"/>
                </a:lnTo>
                <a:lnTo>
                  <a:pt x="96" y="120"/>
                </a:lnTo>
                <a:lnTo>
                  <a:pt x="93" y="122"/>
                </a:lnTo>
                <a:lnTo>
                  <a:pt x="89" y="119"/>
                </a:lnTo>
                <a:lnTo>
                  <a:pt x="90" y="116"/>
                </a:lnTo>
                <a:lnTo>
                  <a:pt x="90" y="111"/>
                </a:lnTo>
                <a:lnTo>
                  <a:pt x="89" y="106"/>
                </a:lnTo>
                <a:lnTo>
                  <a:pt x="87" y="101"/>
                </a:lnTo>
                <a:lnTo>
                  <a:pt x="84" y="98"/>
                </a:lnTo>
                <a:lnTo>
                  <a:pt x="71" y="98"/>
                </a:lnTo>
                <a:lnTo>
                  <a:pt x="66" y="96"/>
                </a:lnTo>
                <a:lnTo>
                  <a:pt x="65" y="100"/>
                </a:lnTo>
                <a:lnTo>
                  <a:pt x="62" y="100"/>
                </a:lnTo>
                <a:lnTo>
                  <a:pt x="62" y="103"/>
                </a:lnTo>
                <a:lnTo>
                  <a:pt x="66" y="107"/>
                </a:lnTo>
                <a:lnTo>
                  <a:pt x="61" y="118"/>
                </a:lnTo>
                <a:lnTo>
                  <a:pt x="58" y="118"/>
                </a:lnTo>
                <a:lnTo>
                  <a:pt x="58" y="122"/>
                </a:lnTo>
                <a:lnTo>
                  <a:pt x="55" y="124"/>
                </a:lnTo>
                <a:lnTo>
                  <a:pt x="52" y="129"/>
                </a:lnTo>
                <a:lnTo>
                  <a:pt x="48" y="128"/>
                </a:lnTo>
                <a:lnTo>
                  <a:pt x="46" y="131"/>
                </a:lnTo>
                <a:lnTo>
                  <a:pt x="43" y="127"/>
                </a:lnTo>
                <a:lnTo>
                  <a:pt x="42" y="123"/>
                </a:lnTo>
                <a:lnTo>
                  <a:pt x="41" y="119"/>
                </a:lnTo>
                <a:lnTo>
                  <a:pt x="37" y="116"/>
                </a:lnTo>
                <a:lnTo>
                  <a:pt x="33" y="116"/>
                </a:lnTo>
                <a:lnTo>
                  <a:pt x="30" y="119"/>
                </a:lnTo>
                <a:lnTo>
                  <a:pt x="29" y="123"/>
                </a:lnTo>
                <a:lnTo>
                  <a:pt x="26" y="124"/>
                </a:lnTo>
                <a:lnTo>
                  <a:pt x="24" y="131"/>
                </a:lnTo>
                <a:lnTo>
                  <a:pt x="21" y="126"/>
                </a:lnTo>
                <a:lnTo>
                  <a:pt x="16" y="128"/>
                </a:lnTo>
                <a:lnTo>
                  <a:pt x="12" y="126"/>
                </a:lnTo>
                <a:close/>
                <a:moveTo>
                  <a:pt x="88" y="4"/>
                </a:moveTo>
                <a:cubicBezTo>
                  <a:pt x="89" y="0"/>
                  <a:pt x="89" y="0"/>
                  <a:pt x="88" y="4"/>
                </a:cubicBez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85" name="Freeform 20">
            <a:extLst>
              <a:ext uri="{FF2B5EF4-FFF2-40B4-BE49-F238E27FC236}">
                <a16:creationId xmlns:a16="http://schemas.microsoft.com/office/drawing/2014/main" id="{3691132B-02B8-405A-BEC6-D916DB603F53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 bwMode="auto">
          <a:xfrm>
            <a:off x="1533679" y="2820509"/>
            <a:ext cx="669925" cy="515938"/>
          </a:xfrm>
          <a:custGeom>
            <a:avLst/>
            <a:gdLst>
              <a:gd name="T0" fmla="*/ 0 w 81"/>
              <a:gd name="T1" fmla="*/ 450166 h 65"/>
              <a:gd name="T2" fmla="*/ 0 w 81"/>
              <a:gd name="T3" fmla="*/ 525194 h 65"/>
              <a:gd name="T4" fmla="*/ 45783 w 81"/>
              <a:gd name="T5" fmla="*/ 550203 h 65"/>
              <a:gd name="T6" fmla="*/ 34337 w 81"/>
              <a:gd name="T7" fmla="*/ 600221 h 65"/>
              <a:gd name="T8" fmla="*/ 206022 w 81"/>
              <a:gd name="T9" fmla="*/ 587717 h 65"/>
              <a:gd name="T10" fmla="*/ 240359 w 81"/>
              <a:gd name="T11" fmla="*/ 612726 h 65"/>
              <a:gd name="T12" fmla="*/ 263251 w 81"/>
              <a:gd name="T13" fmla="*/ 650240 h 65"/>
              <a:gd name="T14" fmla="*/ 263251 w 81"/>
              <a:gd name="T15" fmla="*/ 712763 h 65"/>
              <a:gd name="T16" fmla="*/ 343370 w 81"/>
              <a:gd name="T17" fmla="*/ 750277 h 65"/>
              <a:gd name="T18" fmla="*/ 389153 w 81"/>
              <a:gd name="T19" fmla="*/ 750277 h 65"/>
              <a:gd name="T20" fmla="*/ 400599 w 81"/>
              <a:gd name="T21" fmla="*/ 800295 h 65"/>
              <a:gd name="T22" fmla="*/ 434936 w 81"/>
              <a:gd name="T23" fmla="*/ 812800 h 65"/>
              <a:gd name="T24" fmla="*/ 469273 w 81"/>
              <a:gd name="T25" fmla="*/ 787791 h 65"/>
              <a:gd name="T26" fmla="*/ 503610 w 81"/>
              <a:gd name="T27" fmla="*/ 737772 h 65"/>
              <a:gd name="T28" fmla="*/ 595175 w 81"/>
              <a:gd name="T29" fmla="*/ 737772 h 65"/>
              <a:gd name="T30" fmla="*/ 640958 w 81"/>
              <a:gd name="T31" fmla="*/ 662744 h 65"/>
              <a:gd name="T32" fmla="*/ 663849 w 81"/>
              <a:gd name="T33" fmla="*/ 562708 h 65"/>
              <a:gd name="T34" fmla="*/ 698186 w 81"/>
              <a:gd name="T35" fmla="*/ 512689 h 65"/>
              <a:gd name="T36" fmla="*/ 732524 w 81"/>
              <a:gd name="T37" fmla="*/ 512689 h 65"/>
              <a:gd name="T38" fmla="*/ 732524 w 81"/>
              <a:gd name="T39" fmla="*/ 550203 h 65"/>
              <a:gd name="T40" fmla="*/ 812643 w 81"/>
              <a:gd name="T41" fmla="*/ 525194 h 65"/>
              <a:gd name="T42" fmla="*/ 869872 w 81"/>
              <a:gd name="T43" fmla="*/ 487680 h 65"/>
              <a:gd name="T44" fmla="*/ 904209 w 81"/>
              <a:gd name="T45" fmla="*/ 412652 h 65"/>
              <a:gd name="T46" fmla="*/ 927100 w 81"/>
              <a:gd name="T47" fmla="*/ 325120 h 65"/>
              <a:gd name="T48" fmla="*/ 869872 w 81"/>
              <a:gd name="T49" fmla="*/ 262597 h 65"/>
              <a:gd name="T50" fmla="*/ 801198 w 81"/>
              <a:gd name="T51" fmla="*/ 212578 h 65"/>
              <a:gd name="T52" fmla="*/ 743969 w 81"/>
              <a:gd name="T53" fmla="*/ 212578 h 65"/>
              <a:gd name="T54" fmla="*/ 606621 w 81"/>
              <a:gd name="T55" fmla="*/ 250092 h 65"/>
              <a:gd name="T56" fmla="*/ 492164 w 81"/>
              <a:gd name="T57" fmla="*/ 187569 h 65"/>
              <a:gd name="T58" fmla="*/ 457827 w 81"/>
              <a:gd name="T59" fmla="*/ 100037 h 65"/>
              <a:gd name="T60" fmla="*/ 412044 w 81"/>
              <a:gd name="T61" fmla="*/ 37514 h 65"/>
              <a:gd name="T62" fmla="*/ 412044 w 81"/>
              <a:gd name="T63" fmla="*/ 37514 h 65"/>
              <a:gd name="T64" fmla="*/ 377707 w 81"/>
              <a:gd name="T65" fmla="*/ 37514 h 65"/>
              <a:gd name="T66" fmla="*/ 331925 w 81"/>
              <a:gd name="T67" fmla="*/ 0 h 65"/>
              <a:gd name="T68" fmla="*/ 286142 w 81"/>
              <a:gd name="T69" fmla="*/ 0 h 65"/>
              <a:gd name="T70" fmla="*/ 194577 w 81"/>
              <a:gd name="T71" fmla="*/ 187569 h 65"/>
              <a:gd name="T72" fmla="*/ 137348 w 81"/>
              <a:gd name="T73" fmla="*/ 187569 h 65"/>
              <a:gd name="T74" fmla="*/ 91565 w 81"/>
              <a:gd name="T75" fmla="*/ 212578 h 65"/>
              <a:gd name="T76" fmla="*/ 91565 w 81"/>
              <a:gd name="T77" fmla="*/ 262597 h 65"/>
              <a:gd name="T78" fmla="*/ 34337 w 81"/>
              <a:gd name="T79" fmla="*/ 350129 h 65"/>
              <a:gd name="T80" fmla="*/ 0 w 81"/>
              <a:gd name="T81" fmla="*/ 450166 h 6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81"/>
              <a:gd name="T124" fmla="*/ 0 h 65"/>
              <a:gd name="T125" fmla="*/ 81 w 81"/>
              <a:gd name="T126" fmla="*/ 65 h 6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81" h="65">
                <a:moveTo>
                  <a:pt x="0" y="36"/>
                </a:moveTo>
                <a:lnTo>
                  <a:pt x="0" y="42"/>
                </a:lnTo>
                <a:lnTo>
                  <a:pt x="4" y="44"/>
                </a:lnTo>
                <a:lnTo>
                  <a:pt x="3" y="48"/>
                </a:lnTo>
                <a:lnTo>
                  <a:pt x="18" y="47"/>
                </a:lnTo>
                <a:lnTo>
                  <a:pt x="21" y="49"/>
                </a:lnTo>
                <a:lnTo>
                  <a:pt x="23" y="52"/>
                </a:lnTo>
                <a:lnTo>
                  <a:pt x="23" y="57"/>
                </a:lnTo>
                <a:lnTo>
                  <a:pt x="30" y="60"/>
                </a:lnTo>
                <a:lnTo>
                  <a:pt x="34" y="60"/>
                </a:lnTo>
                <a:lnTo>
                  <a:pt x="35" y="64"/>
                </a:lnTo>
                <a:lnTo>
                  <a:pt x="38" y="65"/>
                </a:lnTo>
                <a:lnTo>
                  <a:pt x="41" y="63"/>
                </a:lnTo>
                <a:lnTo>
                  <a:pt x="44" y="59"/>
                </a:lnTo>
                <a:lnTo>
                  <a:pt x="52" y="59"/>
                </a:lnTo>
                <a:lnTo>
                  <a:pt x="56" y="53"/>
                </a:lnTo>
                <a:lnTo>
                  <a:pt x="58" y="45"/>
                </a:lnTo>
                <a:lnTo>
                  <a:pt x="61" y="41"/>
                </a:lnTo>
                <a:lnTo>
                  <a:pt x="64" y="41"/>
                </a:lnTo>
                <a:lnTo>
                  <a:pt x="64" y="44"/>
                </a:lnTo>
                <a:lnTo>
                  <a:pt x="71" y="42"/>
                </a:lnTo>
                <a:lnTo>
                  <a:pt x="76" y="39"/>
                </a:lnTo>
                <a:lnTo>
                  <a:pt x="79" y="33"/>
                </a:lnTo>
                <a:lnTo>
                  <a:pt x="81" y="26"/>
                </a:lnTo>
                <a:lnTo>
                  <a:pt x="76" y="21"/>
                </a:lnTo>
                <a:lnTo>
                  <a:pt x="70" y="17"/>
                </a:lnTo>
                <a:lnTo>
                  <a:pt x="65" y="17"/>
                </a:lnTo>
                <a:lnTo>
                  <a:pt x="53" y="20"/>
                </a:lnTo>
                <a:lnTo>
                  <a:pt x="43" y="15"/>
                </a:lnTo>
                <a:lnTo>
                  <a:pt x="40" y="8"/>
                </a:lnTo>
                <a:lnTo>
                  <a:pt x="36" y="3"/>
                </a:lnTo>
                <a:lnTo>
                  <a:pt x="33" y="3"/>
                </a:lnTo>
                <a:lnTo>
                  <a:pt x="29" y="0"/>
                </a:lnTo>
                <a:lnTo>
                  <a:pt x="25" y="0"/>
                </a:lnTo>
                <a:lnTo>
                  <a:pt x="17" y="15"/>
                </a:lnTo>
                <a:lnTo>
                  <a:pt x="12" y="15"/>
                </a:lnTo>
                <a:lnTo>
                  <a:pt x="8" y="17"/>
                </a:lnTo>
                <a:lnTo>
                  <a:pt x="8" y="21"/>
                </a:lnTo>
                <a:lnTo>
                  <a:pt x="3" y="28"/>
                </a:lnTo>
                <a:lnTo>
                  <a:pt x="0" y="36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86" name="Freeform 21">
            <a:extLst>
              <a:ext uri="{FF2B5EF4-FFF2-40B4-BE49-F238E27FC236}">
                <a16:creationId xmlns:a16="http://schemas.microsoft.com/office/drawing/2014/main" id="{BF8B96A1-C425-49FF-BCCB-F260ABC9F1AD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1821017" y="2964972"/>
            <a:ext cx="827087" cy="681037"/>
          </a:xfrm>
          <a:custGeom>
            <a:avLst/>
            <a:gdLst>
              <a:gd name="T0" fmla="*/ 1041574 w 100"/>
              <a:gd name="T1" fmla="*/ 37435 h 86"/>
              <a:gd name="T2" fmla="*/ 1098804 w 100"/>
              <a:gd name="T3" fmla="*/ 87349 h 86"/>
              <a:gd name="T4" fmla="*/ 1144587 w 100"/>
              <a:gd name="T5" fmla="*/ 137263 h 86"/>
              <a:gd name="T6" fmla="*/ 1121695 w 100"/>
              <a:gd name="T7" fmla="*/ 187177 h 86"/>
              <a:gd name="T8" fmla="*/ 1075912 w 100"/>
              <a:gd name="T9" fmla="*/ 237091 h 86"/>
              <a:gd name="T10" fmla="*/ 1018682 w 100"/>
              <a:gd name="T11" fmla="*/ 287005 h 86"/>
              <a:gd name="T12" fmla="*/ 1018682 w 100"/>
              <a:gd name="T13" fmla="*/ 361876 h 86"/>
              <a:gd name="T14" fmla="*/ 1030128 w 100"/>
              <a:gd name="T15" fmla="*/ 461704 h 86"/>
              <a:gd name="T16" fmla="*/ 1030128 w 100"/>
              <a:gd name="T17" fmla="*/ 549053 h 86"/>
              <a:gd name="T18" fmla="*/ 1007237 w 100"/>
              <a:gd name="T19" fmla="*/ 673838 h 86"/>
              <a:gd name="T20" fmla="*/ 995791 w 100"/>
              <a:gd name="T21" fmla="*/ 723752 h 86"/>
              <a:gd name="T22" fmla="*/ 915670 w 100"/>
              <a:gd name="T23" fmla="*/ 748709 h 86"/>
              <a:gd name="T24" fmla="*/ 766873 w 100"/>
              <a:gd name="T25" fmla="*/ 748709 h 86"/>
              <a:gd name="T26" fmla="*/ 732536 w 100"/>
              <a:gd name="T27" fmla="*/ 786145 h 86"/>
              <a:gd name="T28" fmla="*/ 675306 w 100"/>
              <a:gd name="T29" fmla="*/ 960844 h 86"/>
              <a:gd name="T30" fmla="*/ 469281 w 100"/>
              <a:gd name="T31" fmla="*/ 910930 h 86"/>
              <a:gd name="T32" fmla="*/ 423497 w 100"/>
              <a:gd name="T33" fmla="*/ 948365 h 86"/>
              <a:gd name="T34" fmla="*/ 389160 w 100"/>
              <a:gd name="T35" fmla="*/ 923408 h 86"/>
              <a:gd name="T36" fmla="*/ 343376 w 100"/>
              <a:gd name="T37" fmla="*/ 935887 h 86"/>
              <a:gd name="T38" fmla="*/ 309038 w 100"/>
              <a:gd name="T39" fmla="*/ 1073150 h 86"/>
              <a:gd name="T40" fmla="*/ 263255 w 100"/>
              <a:gd name="T41" fmla="*/ 1035715 h 86"/>
              <a:gd name="T42" fmla="*/ 206026 w 100"/>
              <a:gd name="T43" fmla="*/ 1048193 h 86"/>
              <a:gd name="T44" fmla="*/ 183134 w 100"/>
              <a:gd name="T45" fmla="*/ 1010758 h 86"/>
              <a:gd name="T46" fmla="*/ 160242 w 100"/>
              <a:gd name="T47" fmla="*/ 910930 h 86"/>
              <a:gd name="T48" fmla="*/ 114459 w 100"/>
              <a:gd name="T49" fmla="*/ 836059 h 86"/>
              <a:gd name="T50" fmla="*/ 68675 w 100"/>
              <a:gd name="T51" fmla="*/ 773666 h 86"/>
              <a:gd name="T52" fmla="*/ 57229 w 100"/>
              <a:gd name="T53" fmla="*/ 723752 h 86"/>
              <a:gd name="T54" fmla="*/ 11446 w 100"/>
              <a:gd name="T55" fmla="*/ 661360 h 86"/>
              <a:gd name="T56" fmla="*/ 0 w 100"/>
              <a:gd name="T57" fmla="*/ 598967 h 86"/>
              <a:gd name="T58" fmla="*/ 34338 w 100"/>
              <a:gd name="T59" fmla="*/ 574010 h 86"/>
              <a:gd name="T60" fmla="*/ 68675 w 100"/>
              <a:gd name="T61" fmla="*/ 524097 h 86"/>
              <a:gd name="T62" fmla="*/ 160242 w 100"/>
              <a:gd name="T63" fmla="*/ 524097 h 86"/>
              <a:gd name="T64" fmla="*/ 206026 w 100"/>
              <a:gd name="T65" fmla="*/ 449226 h 86"/>
              <a:gd name="T66" fmla="*/ 228917 w 100"/>
              <a:gd name="T67" fmla="*/ 349398 h 86"/>
              <a:gd name="T68" fmla="*/ 263255 w 100"/>
              <a:gd name="T69" fmla="*/ 299484 h 86"/>
              <a:gd name="T70" fmla="*/ 297593 w 100"/>
              <a:gd name="T71" fmla="*/ 299484 h 86"/>
              <a:gd name="T72" fmla="*/ 297593 w 100"/>
              <a:gd name="T73" fmla="*/ 336919 h 86"/>
              <a:gd name="T74" fmla="*/ 377714 w 100"/>
              <a:gd name="T75" fmla="*/ 311962 h 86"/>
              <a:gd name="T76" fmla="*/ 434943 w 100"/>
              <a:gd name="T77" fmla="*/ 274527 h 86"/>
              <a:gd name="T78" fmla="*/ 469281 w 100"/>
              <a:gd name="T79" fmla="*/ 199656 h 86"/>
              <a:gd name="T80" fmla="*/ 492172 w 100"/>
              <a:gd name="T81" fmla="*/ 112306 h 86"/>
              <a:gd name="T82" fmla="*/ 606631 w 100"/>
              <a:gd name="T83" fmla="*/ 62392 h 86"/>
              <a:gd name="T84" fmla="*/ 663860 w 100"/>
              <a:gd name="T85" fmla="*/ 49914 h 86"/>
              <a:gd name="T86" fmla="*/ 709644 w 100"/>
              <a:gd name="T87" fmla="*/ 0 h 86"/>
              <a:gd name="T88" fmla="*/ 789765 w 100"/>
              <a:gd name="T89" fmla="*/ 12478 h 86"/>
              <a:gd name="T90" fmla="*/ 881332 w 100"/>
              <a:gd name="T91" fmla="*/ 62392 h 86"/>
              <a:gd name="T92" fmla="*/ 961453 w 100"/>
              <a:gd name="T93" fmla="*/ 37435 h 86"/>
              <a:gd name="T94" fmla="*/ 1041574 w 100"/>
              <a:gd name="T95" fmla="*/ 24957 h 86"/>
              <a:gd name="T96" fmla="*/ 1041574 w 100"/>
              <a:gd name="T97" fmla="*/ 37435 h 8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00"/>
              <a:gd name="T148" fmla="*/ 0 h 86"/>
              <a:gd name="T149" fmla="*/ 100 w 100"/>
              <a:gd name="T150" fmla="*/ 86 h 8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00" h="86">
                <a:moveTo>
                  <a:pt x="91" y="3"/>
                </a:moveTo>
                <a:lnTo>
                  <a:pt x="96" y="7"/>
                </a:lnTo>
                <a:lnTo>
                  <a:pt x="100" y="11"/>
                </a:lnTo>
                <a:lnTo>
                  <a:pt x="98" y="15"/>
                </a:lnTo>
                <a:lnTo>
                  <a:pt x="94" y="19"/>
                </a:lnTo>
                <a:lnTo>
                  <a:pt x="89" y="23"/>
                </a:lnTo>
                <a:lnTo>
                  <a:pt x="89" y="29"/>
                </a:lnTo>
                <a:lnTo>
                  <a:pt x="90" y="37"/>
                </a:lnTo>
                <a:lnTo>
                  <a:pt x="90" y="44"/>
                </a:lnTo>
                <a:lnTo>
                  <a:pt x="88" y="54"/>
                </a:lnTo>
                <a:lnTo>
                  <a:pt x="87" y="58"/>
                </a:lnTo>
                <a:lnTo>
                  <a:pt x="80" y="60"/>
                </a:lnTo>
                <a:lnTo>
                  <a:pt x="67" y="60"/>
                </a:lnTo>
                <a:lnTo>
                  <a:pt x="64" y="63"/>
                </a:lnTo>
                <a:lnTo>
                  <a:pt x="59" y="77"/>
                </a:lnTo>
                <a:lnTo>
                  <a:pt x="41" y="73"/>
                </a:lnTo>
                <a:lnTo>
                  <a:pt x="37" y="76"/>
                </a:lnTo>
                <a:lnTo>
                  <a:pt x="34" y="74"/>
                </a:lnTo>
                <a:lnTo>
                  <a:pt x="30" y="75"/>
                </a:lnTo>
                <a:lnTo>
                  <a:pt x="27" y="86"/>
                </a:lnTo>
                <a:lnTo>
                  <a:pt x="23" y="83"/>
                </a:lnTo>
                <a:lnTo>
                  <a:pt x="18" y="84"/>
                </a:lnTo>
                <a:lnTo>
                  <a:pt x="16" y="81"/>
                </a:lnTo>
                <a:lnTo>
                  <a:pt x="14" y="73"/>
                </a:lnTo>
                <a:lnTo>
                  <a:pt x="10" y="67"/>
                </a:lnTo>
                <a:lnTo>
                  <a:pt x="6" y="62"/>
                </a:lnTo>
                <a:lnTo>
                  <a:pt x="5" y="58"/>
                </a:lnTo>
                <a:lnTo>
                  <a:pt x="1" y="53"/>
                </a:lnTo>
                <a:lnTo>
                  <a:pt x="0" y="48"/>
                </a:lnTo>
                <a:lnTo>
                  <a:pt x="3" y="46"/>
                </a:lnTo>
                <a:lnTo>
                  <a:pt x="6" y="42"/>
                </a:lnTo>
                <a:lnTo>
                  <a:pt x="14" y="42"/>
                </a:lnTo>
                <a:lnTo>
                  <a:pt x="18" y="36"/>
                </a:lnTo>
                <a:lnTo>
                  <a:pt x="20" y="28"/>
                </a:lnTo>
                <a:lnTo>
                  <a:pt x="23" y="24"/>
                </a:lnTo>
                <a:lnTo>
                  <a:pt x="26" y="24"/>
                </a:lnTo>
                <a:lnTo>
                  <a:pt x="26" y="27"/>
                </a:lnTo>
                <a:lnTo>
                  <a:pt x="33" y="25"/>
                </a:lnTo>
                <a:lnTo>
                  <a:pt x="38" y="22"/>
                </a:lnTo>
                <a:lnTo>
                  <a:pt x="41" y="16"/>
                </a:lnTo>
                <a:lnTo>
                  <a:pt x="43" y="9"/>
                </a:lnTo>
                <a:lnTo>
                  <a:pt x="53" y="5"/>
                </a:lnTo>
                <a:lnTo>
                  <a:pt x="58" y="4"/>
                </a:lnTo>
                <a:lnTo>
                  <a:pt x="62" y="0"/>
                </a:lnTo>
                <a:lnTo>
                  <a:pt x="69" y="1"/>
                </a:lnTo>
                <a:lnTo>
                  <a:pt x="77" y="5"/>
                </a:lnTo>
                <a:lnTo>
                  <a:pt x="84" y="3"/>
                </a:lnTo>
                <a:lnTo>
                  <a:pt x="91" y="2"/>
                </a:lnTo>
                <a:lnTo>
                  <a:pt x="91" y="3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87" name="Freeform 22">
            <a:extLst>
              <a:ext uri="{FF2B5EF4-FFF2-40B4-BE49-F238E27FC236}">
                <a16:creationId xmlns:a16="http://schemas.microsoft.com/office/drawing/2014/main" id="{FD95076F-F52D-4538-9CB7-F6D7360DE64E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 bwMode="auto">
          <a:xfrm>
            <a:off x="885979" y="3684109"/>
            <a:ext cx="546100" cy="365125"/>
          </a:xfrm>
          <a:custGeom>
            <a:avLst/>
            <a:gdLst>
              <a:gd name="T0" fmla="*/ 755650 w 66"/>
              <a:gd name="T1" fmla="*/ 449746 h 46"/>
              <a:gd name="T2" fmla="*/ 721302 w 66"/>
              <a:gd name="T3" fmla="*/ 462239 h 46"/>
              <a:gd name="T4" fmla="*/ 721302 w 66"/>
              <a:gd name="T5" fmla="*/ 524703 h 46"/>
              <a:gd name="T6" fmla="*/ 664056 w 66"/>
              <a:gd name="T7" fmla="*/ 574675 h 46"/>
              <a:gd name="T8" fmla="*/ 618259 w 66"/>
              <a:gd name="T9" fmla="*/ 574675 h 46"/>
              <a:gd name="T10" fmla="*/ 561013 w 66"/>
              <a:gd name="T11" fmla="*/ 524703 h 46"/>
              <a:gd name="T12" fmla="*/ 492317 w 66"/>
              <a:gd name="T13" fmla="*/ 499717 h 46"/>
              <a:gd name="T14" fmla="*/ 446520 w 66"/>
              <a:gd name="T15" fmla="*/ 487224 h 46"/>
              <a:gd name="T16" fmla="*/ 400723 w 66"/>
              <a:gd name="T17" fmla="*/ 537196 h 46"/>
              <a:gd name="T18" fmla="*/ 309129 w 66"/>
              <a:gd name="T19" fmla="*/ 537196 h 46"/>
              <a:gd name="T20" fmla="*/ 286231 w 66"/>
              <a:gd name="T21" fmla="*/ 512210 h 46"/>
              <a:gd name="T22" fmla="*/ 274782 w 66"/>
              <a:gd name="T23" fmla="*/ 499717 h 46"/>
              <a:gd name="T24" fmla="*/ 240434 w 66"/>
              <a:gd name="T25" fmla="*/ 499717 h 46"/>
              <a:gd name="T26" fmla="*/ 217536 w 66"/>
              <a:gd name="T27" fmla="*/ 537196 h 46"/>
              <a:gd name="T28" fmla="*/ 91594 w 66"/>
              <a:gd name="T29" fmla="*/ 524703 h 46"/>
              <a:gd name="T30" fmla="*/ 0 w 66"/>
              <a:gd name="T31" fmla="*/ 499717 h 46"/>
              <a:gd name="T32" fmla="*/ 22898 w 66"/>
              <a:gd name="T33" fmla="*/ 512210 h 46"/>
              <a:gd name="T34" fmla="*/ 22898 w 66"/>
              <a:gd name="T35" fmla="*/ 412267 h 46"/>
              <a:gd name="T36" fmla="*/ 45797 w 66"/>
              <a:gd name="T37" fmla="*/ 312323 h 46"/>
              <a:gd name="T38" fmla="*/ 125942 w 66"/>
              <a:gd name="T39" fmla="*/ 237366 h 46"/>
              <a:gd name="T40" fmla="*/ 263333 w 66"/>
              <a:gd name="T41" fmla="*/ 187394 h 46"/>
              <a:gd name="T42" fmla="*/ 320579 w 66"/>
              <a:gd name="T43" fmla="*/ 124929 h 46"/>
              <a:gd name="T44" fmla="*/ 366376 w 66"/>
              <a:gd name="T45" fmla="*/ 12493 h 46"/>
              <a:gd name="T46" fmla="*/ 354926 w 66"/>
              <a:gd name="T47" fmla="*/ 0 h 46"/>
              <a:gd name="T48" fmla="*/ 412173 w 66"/>
              <a:gd name="T49" fmla="*/ 0 h 46"/>
              <a:gd name="T50" fmla="*/ 503767 w 66"/>
              <a:gd name="T51" fmla="*/ 24986 h 46"/>
              <a:gd name="T52" fmla="*/ 652607 w 66"/>
              <a:gd name="T53" fmla="*/ 24986 h 46"/>
              <a:gd name="T54" fmla="*/ 652607 w 66"/>
              <a:gd name="T55" fmla="*/ 287338 h 46"/>
              <a:gd name="T56" fmla="*/ 698404 w 66"/>
              <a:gd name="T57" fmla="*/ 324816 h 46"/>
              <a:gd name="T58" fmla="*/ 732752 w 66"/>
              <a:gd name="T59" fmla="*/ 374788 h 46"/>
              <a:gd name="T60" fmla="*/ 755650 w 66"/>
              <a:gd name="T61" fmla="*/ 449746 h 4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66"/>
              <a:gd name="T94" fmla="*/ 0 h 46"/>
              <a:gd name="T95" fmla="*/ 66 w 66"/>
              <a:gd name="T96" fmla="*/ 46 h 4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66" h="46">
                <a:moveTo>
                  <a:pt x="66" y="36"/>
                </a:moveTo>
                <a:lnTo>
                  <a:pt x="63" y="37"/>
                </a:lnTo>
                <a:lnTo>
                  <a:pt x="63" y="42"/>
                </a:lnTo>
                <a:lnTo>
                  <a:pt x="58" y="46"/>
                </a:lnTo>
                <a:lnTo>
                  <a:pt x="54" y="46"/>
                </a:lnTo>
                <a:lnTo>
                  <a:pt x="49" y="42"/>
                </a:lnTo>
                <a:lnTo>
                  <a:pt x="43" y="40"/>
                </a:lnTo>
                <a:lnTo>
                  <a:pt x="39" y="39"/>
                </a:lnTo>
                <a:lnTo>
                  <a:pt x="35" y="43"/>
                </a:lnTo>
                <a:lnTo>
                  <a:pt x="27" y="43"/>
                </a:lnTo>
                <a:lnTo>
                  <a:pt x="25" y="41"/>
                </a:lnTo>
                <a:lnTo>
                  <a:pt x="24" y="40"/>
                </a:lnTo>
                <a:lnTo>
                  <a:pt x="21" y="40"/>
                </a:lnTo>
                <a:lnTo>
                  <a:pt x="19" y="43"/>
                </a:lnTo>
                <a:lnTo>
                  <a:pt x="8" y="42"/>
                </a:lnTo>
                <a:lnTo>
                  <a:pt x="0" y="40"/>
                </a:lnTo>
                <a:lnTo>
                  <a:pt x="2" y="41"/>
                </a:lnTo>
                <a:lnTo>
                  <a:pt x="2" y="33"/>
                </a:lnTo>
                <a:lnTo>
                  <a:pt x="4" y="25"/>
                </a:lnTo>
                <a:lnTo>
                  <a:pt x="11" y="19"/>
                </a:lnTo>
                <a:lnTo>
                  <a:pt x="23" y="15"/>
                </a:lnTo>
                <a:lnTo>
                  <a:pt x="28" y="10"/>
                </a:lnTo>
                <a:lnTo>
                  <a:pt x="32" y="1"/>
                </a:lnTo>
                <a:lnTo>
                  <a:pt x="31" y="0"/>
                </a:lnTo>
                <a:lnTo>
                  <a:pt x="36" y="0"/>
                </a:lnTo>
                <a:lnTo>
                  <a:pt x="44" y="2"/>
                </a:lnTo>
                <a:lnTo>
                  <a:pt x="57" y="2"/>
                </a:lnTo>
                <a:lnTo>
                  <a:pt x="57" y="23"/>
                </a:lnTo>
                <a:lnTo>
                  <a:pt x="61" y="26"/>
                </a:lnTo>
                <a:lnTo>
                  <a:pt x="64" y="30"/>
                </a:lnTo>
                <a:lnTo>
                  <a:pt x="66" y="36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88" name="Freeform 23">
            <a:extLst>
              <a:ext uri="{FF2B5EF4-FFF2-40B4-BE49-F238E27FC236}">
                <a16:creationId xmlns:a16="http://schemas.microsoft.com/office/drawing/2014/main" id="{B0F5F9D6-5E21-4731-AECC-61C074252CF8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 bwMode="auto">
          <a:xfrm>
            <a:off x="1101879" y="3252309"/>
            <a:ext cx="355600" cy="450850"/>
          </a:xfrm>
          <a:custGeom>
            <a:avLst/>
            <a:gdLst>
              <a:gd name="T0" fmla="*/ 480680 w 43"/>
              <a:gd name="T1" fmla="*/ 324407 h 57"/>
              <a:gd name="T2" fmla="*/ 492125 w 43"/>
              <a:gd name="T3" fmla="*/ 411747 h 57"/>
              <a:gd name="T4" fmla="*/ 457791 w 43"/>
              <a:gd name="T5" fmla="*/ 499088 h 57"/>
              <a:gd name="T6" fmla="*/ 457791 w 43"/>
              <a:gd name="T7" fmla="*/ 586428 h 57"/>
              <a:gd name="T8" fmla="*/ 412012 w 43"/>
              <a:gd name="T9" fmla="*/ 586428 h 57"/>
              <a:gd name="T10" fmla="*/ 412012 w 43"/>
              <a:gd name="T11" fmla="*/ 661291 h 57"/>
              <a:gd name="T12" fmla="*/ 377677 w 43"/>
              <a:gd name="T13" fmla="*/ 698723 h 57"/>
              <a:gd name="T14" fmla="*/ 331898 w 43"/>
              <a:gd name="T15" fmla="*/ 686246 h 57"/>
              <a:gd name="T16" fmla="*/ 331898 w 43"/>
              <a:gd name="T17" fmla="*/ 711200 h 57"/>
              <a:gd name="T18" fmla="*/ 183116 w 43"/>
              <a:gd name="T19" fmla="*/ 711200 h 57"/>
              <a:gd name="T20" fmla="*/ 91558 w 43"/>
              <a:gd name="T21" fmla="*/ 686246 h 57"/>
              <a:gd name="T22" fmla="*/ 34334 w 43"/>
              <a:gd name="T23" fmla="*/ 686246 h 57"/>
              <a:gd name="T24" fmla="*/ 45779 w 43"/>
              <a:gd name="T25" fmla="*/ 698723 h 57"/>
              <a:gd name="T26" fmla="*/ 0 w 43"/>
              <a:gd name="T27" fmla="*/ 661291 h 57"/>
              <a:gd name="T28" fmla="*/ 22890 w 43"/>
              <a:gd name="T29" fmla="*/ 611382 h 57"/>
              <a:gd name="T30" fmla="*/ 22890 w 43"/>
              <a:gd name="T31" fmla="*/ 548997 h 57"/>
              <a:gd name="T32" fmla="*/ 11445 w 43"/>
              <a:gd name="T33" fmla="*/ 411747 h 57"/>
              <a:gd name="T34" fmla="*/ 11445 w 43"/>
              <a:gd name="T35" fmla="*/ 411747 h 57"/>
              <a:gd name="T36" fmla="*/ 45779 w 43"/>
              <a:gd name="T37" fmla="*/ 349361 h 57"/>
              <a:gd name="T38" fmla="*/ 80113 w 43"/>
              <a:gd name="T39" fmla="*/ 324407 h 57"/>
              <a:gd name="T40" fmla="*/ 80113 w 43"/>
              <a:gd name="T41" fmla="*/ 274498 h 57"/>
              <a:gd name="T42" fmla="*/ 114448 w 43"/>
              <a:gd name="T43" fmla="*/ 274498 h 57"/>
              <a:gd name="T44" fmla="*/ 171671 w 43"/>
              <a:gd name="T45" fmla="*/ 137249 h 57"/>
              <a:gd name="T46" fmla="*/ 125892 w 43"/>
              <a:gd name="T47" fmla="*/ 87340 h 57"/>
              <a:gd name="T48" fmla="*/ 125892 w 43"/>
              <a:gd name="T49" fmla="*/ 49909 h 57"/>
              <a:gd name="T50" fmla="*/ 160227 w 43"/>
              <a:gd name="T51" fmla="*/ 49909 h 57"/>
              <a:gd name="T52" fmla="*/ 171671 w 43"/>
              <a:gd name="T53" fmla="*/ 0 h 57"/>
              <a:gd name="T54" fmla="*/ 228895 w 43"/>
              <a:gd name="T55" fmla="*/ 24954 h 57"/>
              <a:gd name="T56" fmla="*/ 377677 w 43"/>
              <a:gd name="T57" fmla="*/ 24954 h 57"/>
              <a:gd name="T58" fmla="*/ 412012 w 43"/>
              <a:gd name="T59" fmla="*/ 62386 h 57"/>
              <a:gd name="T60" fmla="*/ 434901 w 43"/>
              <a:gd name="T61" fmla="*/ 124772 h 57"/>
              <a:gd name="T62" fmla="*/ 446346 w 43"/>
              <a:gd name="T63" fmla="*/ 187158 h 57"/>
              <a:gd name="T64" fmla="*/ 446346 w 43"/>
              <a:gd name="T65" fmla="*/ 249544 h 57"/>
              <a:gd name="T66" fmla="*/ 434901 w 43"/>
              <a:gd name="T67" fmla="*/ 286975 h 57"/>
              <a:gd name="T68" fmla="*/ 480680 w 43"/>
              <a:gd name="T69" fmla="*/ 324407 h 5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43"/>
              <a:gd name="T106" fmla="*/ 0 h 57"/>
              <a:gd name="T107" fmla="*/ 43 w 43"/>
              <a:gd name="T108" fmla="*/ 57 h 5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43" h="57">
                <a:moveTo>
                  <a:pt x="42" y="26"/>
                </a:moveTo>
                <a:lnTo>
                  <a:pt x="43" y="33"/>
                </a:lnTo>
                <a:lnTo>
                  <a:pt x="40" y="40"/>
                </a:lnTo>
                <a:lnTo>
                  <a:pt x="40" y="47"/>
                </a:lnTo>
                <a:lnTo>
                  <a:pt x="36" y="47"/>
                </a:lnTo>
                <a:lnTo>
                  <a:pt x="36" y="53"/>
                </a:lnTo>
                <a:lnTo>
                  <a:pt x="33" y="56"/>
                </a:lnTo>
                <a:lnTo>
                  <a:pt x="29" y="55"/>
                </a:lnTo>
                <a:lnTo>
                  <a:pt x="29" y="57"/>
                </a:lnTo>
                <a:lnTo>
                  <a:pt x="16" y="57"/>
                </a:lnTo>
                <a:lnTo>
                  <a:pt x="8" y="55"/>
                </a:lnTo>
                <a:lnTo>
                  <a:pt x="3" y="55"/>
                </a:lnTo>
                <a:lnTo>
                  <a:pt x="4" y="56"/>
                </a:lnTo>
                <a:lnTo>
                  <a:pt x="0" y="53"/>
                </a:lnTo>
                <a:lnTo>
                  <a:pt x="2" y="49"/>
                </a:lnTo>
                <a:lnTo>
                  <a:pt x="2" y="44"/>
                </a:lnTo>
                <a:lnTo>
                  <a:pt x="1" y="33"/>
                </a:lnTo>
                <a:lnTo>
                  <a:pt x="4" y="28"/>
                </a:lnTo>
                <a:lnTo>
                  <a:pt x="7" y="26"/>
                </a:lnTo>
                <a:lnTo>
                  <a:pt x="7" y="22"/>
                </a:lnTo>
                <a:lnTo>
                  <a:pt x="10" y="22"/>
                </a:lnTo>
                <a:lnTo>
                  <a:pt x="15" y="11"/>
                </a:lnTo>
                <a:lnTo>
                  <a:pt x="11" y="7"/>
                </a:lnTo>
                <a:lnTo>
                  <a:pt x="11" y="4"/>
                </a:lnTo>
                <a:lnTo>
                  <a:pt x="14" y="4"/>
                </a:lnTo>
                <a:lnTo>
                  <a:pt x="15" y="0"/>
                </a:lnTo>
                <a:lnTo>
                  <a:pt x="20" y="2"/>
                </a:lnTo>
                <a:lnTo>
                  <a:pt x="33" y="2"/>
                </a:lnTo>
                <a:lnTo>
                  <a:pt x="36" y="5"/>
                </a:lnTo>
                <a:lnTo>
                  <a:pt x="38" y="10"/>
                </a:lnTo>
                <a:lnTo>
                  <a:pt x="39" y="15"/>
                </a:lnTo>
                <a:lnTo>
                  <a:pt x="39" y="20"/>
                </a:lnTo>
                <a:lnTo>
                  <a:pt x="38" y="23"/>
                </a:lnTo>
                <a:lnTo>
                  <a:pt x="42" y="26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89" name="Freeform 24">
            <a:extLst>
              <a:ext uri="{FF2B5EF4-FFF2-40B4-BE49-F238E27FC236}">
                <a16:creationId xmlns:a16="http://schemas.microsoft.com/office/drawing/2014/main" id="{795AE4F5-7AAC-4521-8729-17B42B400A00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 bwMode="auto">
          <a:xfrm>
            <a:off x="1435254" y="3180872"/>
            <a:ext cx="530225" cy="476250"/>
          </a:xfrm>
          <a:custGeom>
            <a:avLst/>
            <a:gdLst>
              <a:gd name="T0" fmla="*/ 11485 w 64"/>
              <a:gd name="T1" fmla="*/ 499533 h 60"/>
              <a:gd name="T2" fmla="*/ 34454 w 64"/>
              <a:gd name="T3" fmla="*/ 499533 h 60"/>
              <a:gd name="T4" fmla="*/ 45938 w 64"/>
              <a:gd name="T5" fmla="*/ 549487 h 60"/>
              <a:gd name="T6" fmla="*/ 114846 w 64"/>
              <a:gd name="T7" fmla="*/ 586952 h 60"/>
              <a:gd name="T8" fmla="*/ 103361 w 64"/>
              <a:gd name="T9" fmla="*/ 686858 h 60"/>
              <a:gd name="T10" fmla="*/ 183753 w 64"/>
              <a:gd name="T11" fmla="*/ 749300 h 60"/>
              <a:gd name="T12" fmla="*/ 264145 w 64"/>
              <a:gd name="T13" fmla="*/ 749300 h 60"/>
              <a:gd name="T14" fmla="*/ 413445 w 64"/>
              <a:gd name="T15" fmla="*/ 699347 h 60"/>
              <a:gd name="T16" fmla="*/ 620167 w 64"/>
              <a:gd name="T17" fmla="*/ 699347 h 60"/>
              <a:gd name="T18" fmla="*/ 620167 w 64"/>
              <a:gd name="T19" fmla="*/ 686858 h 60"/>
              <a:gd name="T20" fmla="*/ 735013 w 64"/>
              <a:gd name="T21" fmla="*/ 611928 h 60"/>
              <a:gd name="T22" fmla="*/ 723528 w 64"/>
              <a:gd name="T23" fmla="*/ 536998 h 60"/>
              <a:gd name="T24" fmla="*/ 677590 w 64"/>
              <a:gd name="T25" fmla="*/ 462068 h 60"/>
              <a:gd name="T26" fmla="*/ 631652 w 64"/>
              <a:gd name="T27" fmla="*/ 399627 h 60"/>
              <a:gd name="T28" fmla="*/ 620167 w 64"/>
              <a:gd name="T29" fmla="*/ 349673 h 60"/>
              <a:gd name="T30" fmla="*/ 574229 w 64"/>
              <a:gd name="T31" fmla="*/ 287232 h 60"/>
              <a:gd name="T32" fmla="*/ 562744 w 64"/>
              <a:gd name="T33" fmla="*/ 224790 h 60"/>
              <a:gd name="T34" fmla="*/ 597198 w 64"/>
              <a:gd name="T35" fmla="*/ 199813 h 60"/>
              <a:gd name="T36" fmla="*/ 562744 w 64"/>
              <a:gd name="T37" fmla="*/ 224790 h 60"/>
              <a:gd name="T38" fmla="*/ 528291 w 64"/>
              <a:gd name="T39" fmla="*/ 212302 h 60"/>
              <a:gd name="T40" fmla="*/ 516806 w 64"/>
              <a:gd name="T41" fmla="*/ 162348 h 60"/>
              <a:gd name="T42" fmla="*/ 470868 w 64"/>
              <a:gd name="T43" fmla="*/ 162348 h 60"/>
              <a:gd name="T44" fmla="*/ 390476 w 64"/>
              <a:gd name="T45" fmla="*/ 124883 h 60"/>
              <a:gd name="T46" fmla="*/ 390476 w 64"/>
              <a:gd name="T47" fmla="*/ 62442 h 60"/>
              <a:gd name="T48" fmla="*/ 367507 w 64"/>
              <a:gd name="T49" fmla="*/ 24977 h 60"/>
              <a:gd name="T50" fmla="*/ 333053 w 64"/>
              <a:gd name="T51" fmla="*/ 0 h 60"/>
              <a:gd name="T52" fmla="*/ 160784 w 64"/>
              <a:gd name="T53" fmla="*/ 12488 h 60"/>
              <a:gd name="T54" fmla="*/ 91877 w 64"/>
              <a:gd name="T55" fmla="*/ 87418 h 60"/>
              <a:gd name="T56" fmla="*/ 34454 w 64"/>
              <a:gd name="T57" fmla="*/ 149860 h 60"/>
              <a:gd name="T58" fmla="*/ 11485 w 64"/>
              <a:gd name="T59" fmla="*/ 212302 h 60"/>
              <a:gd name="T60" fmla="*/ 34454 w 64"/>
              <a:gd name="T61" fmla="*/ 274743 h 60"/>
              <a:gd name="T62" fmla="*/ 11485 w 64"/>
              <a:gd name="T63" fmla="*/ 324697 h 60"/>
              <a:gd name="T64" fmla="*/ 34454 w 64"/>
              <a:gd name="T65" fmla="*/ 387138 h 60"/>
              <a:gd name="T66" fmla="*/ 0 w 64"/>
              <a:gd name="T67" fmla="*/ 412115 h 60"/>
              <a:gd name="T68" fmla="*/ 0 w 64"/>
              <a:gd name="T69" fmla="*/ 412115 h 60"/>
              <a:gd name="T70" fmla="*/ 11485 w 64"/>
              <a:gd name="T71" fmla="*/ 499533 h 60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64"/>
              <a:gd name="T109" fmla="*/ 0 h 60"/>
              <a:gd name="T110" fmla="*/ 64 w 64"/>
              <a:gd name="T111" fmla="*/ 60 h 60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64" h="60">
                <a:moveTo>
                  <a:pt x="1" y="40"/>
                </a:moveTo>
                <a:lnTo>
                  <a:pt x="3" y="40"/>
                </a:lnTo>
                <a:lnTo>
                  <a:pt x="4" y="44"/>
                </a:lnTo>
                <a:lnTo>
                  <a:pt x="10" y="47"/>
                </a:lnTo>
                <a:lnTo>
                  <a:pt x="9" y="55"/>
                </a:lnTo>
                <a:lnTo>
                  <a:pt x="16" y="60"/>
                </a:lnTo>
                <a:lnTo>
                  <a:pt x="23" y="60"/>
                </a:lnTo>
                <a:lnTo>
                  <a:pt x="36" y="56"/>
                </a:lnTo>
                <a:lnTo>
                  <a:pt x="54" y="56"/>
                </a:lnTo>
                <a:lnTo>
                  <a:pt x="54" y="55"/>
                </a:lnTo>
                <a:lnTo>
                  <a:pt x="64" y="49"/>
                </a:lnTo>
                <a:lnTo>
                  <a:pt x="63" y="43"/>
                </a:lnTo>
                <a:lnTo>
                  <a:pt x="59" y="37"/>
                </a:lnTo>
                <a:lnTo>
                  <a:pt x="55" y="32"/>
                </a:lnTo>
                <a:lnTo>
                  <a:pt x="54" y="28"/>
                </a:lnTo>
                <a:lnTo>
                  <a:pt x="50" y="23"/>
                </a:lnTo>
                <a:lnTo>
                  <a:pt x="49" y="18"/>
                </a:lnTo>
                <a:lnTo>
                  <a:pt x="52" y="16"/>
                </a:lnTo>
                <a:lnTo>
                  <a:pt x="49" y="18"/>
                </a:lnTo>
                <a:lnTo>
                  <a:pt x="46" y="17"/>
                </a:lnTo>
                <a:lnTo>
                  <a:pt x="45" y="13"/>
                </a:lnTo>
                <a:lnTo>
                  <a:pt x="41" y="13"/>
                </a:lnTo>
                <a:lnTo>
                  <a:pt x="34" y="10"/>
                </a:lnTo>
                <a:lnTo>
                  <a:pt x="34" y="5"/>
                </a:lnTo>
                <a:lnTo>
                  <a:pt x="32" y="2"/>
                </a:lnTo>
                <a:lnTo>
                  <a:pt x="29" y="0"/>
                </a:lnTo>
                <a:lnTo>
                  <a:pt x="14" y="1"/>
                </a:lnTo>
                <a:lnTo>
                  <a:pt x="8" y="7"/>
                </a:lnTo>
                <a:lnTo>
                  <a:pt x="3" y="12"/>
                </a:lnTo>
                <a:lnTo>
                  <a:pt x="1" y="17"/>
                </a:lnTo>
                <a:lnTo>
                  <a:pt x="3" y="22"/>
                </a:lnTo>
                <a:lnTo>
                  <a:pt x="1" y="26"/>
                </a:lnTo>
                <a:lnTo>
                  <a:pt x="3" y="31"/>
                </a:lnTo>
                <a:lnTo>
                  <a:pt x="0" y="33"/>
                </a:lnTo>
                <a:lnTo>
                  <a:pt x="1" y="40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90" name="Freeform 25">
            <a:extLst>
              <a:ext uri="{FF2B5EF4-FFF2-40B4-BE49-F238E27FC236}">
                <a16:creationId xmlns:a16="http://schemas.microsoft.com/office/drawing/2014/main" id="{6C3AD553-F5B5-44E1-AB5D-CFA0557FA64E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 bwMode="auto">
          <a:xfrm>
            <a:off x="1605117" y="3539647"/>
            <a:ext cx="522287" cy="450850"/>
          </a:xfrm>
          <a:custGeom>
            <a:avLst/>
            <a:gdLst>
              <a:gd name="T0" fmla="*/ 700919 w 63"/>
              <a:gd name="T1" fmla="*/ 435727 h 57"/>
              <a:gd name="T2" fmla="*/ 666448 w 63"/>
              <a:gd name="T3" fmla="*/ 634917 h 57"/>
              <a:gd name="T4" fmla="*/ 551543 w 63"/>
              <a:gd name="T5" fmla="*/ 622468 h 57"/>
              <a:gd name="T6" fmla="*/ 494091 w 63"/>
              <a:gd name="T7" fmla="*/ 610018 h 57"/>
              <a:gd name="T8" fmla="*/ 436638 w 63"/>
              <a:gd name="T9" fmla="*/ 585120 h 57"/>
              <a:gd name="T10" fmla="*/ 402167 w 63"/>
              <a:gd name="T11" fmla="*/ 560221 h 57"/>
              <a:gd name="T12" fmla="*/ 390676 w 63"/>
              <a:gd name="T13" fmla="*/ 522873 h 57"/>
              <a:gd name="T14" fmla="*/ 298752 w 63"/>
              <a:gd name="T15" fmla="*/ 522873 h 57"/>
              <a:gd name="T16" fmla="*/ 252791 w 63"/>
              <a:gd name="T17" fmla="*/ 572670 h 57"/>
              <a:gd name="T18" fmla="*/ 252791 w 63"/>
              <a:gd name="T19" fmla="*/ 610018 h 57"/>
              <a:gd name="T20" fmla="*/ 218319 w 63"/>
              <a:gd name="T21" fmla="*/ 634917 h 57"/>
              <a:gd name="T22" fmla="*/ 195338 w 63"/>
              <a:gd name="T23" fmla="*/ 672265 h 57"/>
              <a:gd name="T24" fmla="*/ 137886 w 63"/>
              <a:gd name="T25" fmla="*/ 684714 h 57"/>
              <a:gd name="T26" fmla="*/ 103414 w 63"/>
              <a:gd name="T27" fmla="*/ 659816 h 57"/>
              <a:gd name="T28" fmla="*/ 80433 w 63"/>
              <a:gd name="T29" fmla="*/ 709613 h 57"/>
              <a:gd name="T30" fmla="*/ 0 w 63"/>
              <a:gd name="T31" fmla="*/ 634917 h 57"/>
              <a:gd name="T32" fmla="*/ 57452 w 63"/>
              <a:gd name="T33" fmla="*/ 622468 h 57"/>
              <a:gd name="T34" fmla="*/ 91924 w 63"/>
              <a:gd name="T35" fmla="*/ 597569 h 57"/>
              <a:gd name="T36" fmla="*/ 91924 w 63"/>
              <a:gd name="T37" fmla="*/ 535322 h 57"/>
              <a:gd name="T38" fmla="*/ 114905 w 63"/>
              <a:gd name="T39" fmla="*/ 497974 h 57"/>
              <a:gd name="T40" fmla="*/ 68943 w 63"/>
              <a:gd name="T41" fmla="*/ 448177 h 57"/>
              <a:gd name="T42" fmla="*/ 68943 w 63"/>
              <a:gd name="T43" fmla="*/ 373481 h 57"/>
              <a:gd name="T44" fmla="*/ 103414 w 63"/>
              <a:gd name="T45" fmla="*/ 323683 h 57"/>
              <a:gd name="T46" fmla="*/ 103414 w 63"/>
              <a:gd name="T47" fmla="*/ 286335 h 57"/>
              <a:gd name="T48" fmla="*/ 172357 w 63"/>
              <a:gd name="T49" fmla="*/ 261436 h 57"/>
              <a:gd name="T50" fmla="*/ 241300 w 63"/>
              <a:gd name="T51" fmla="*/ 211639 h 57"/>
              <a:gd name="T52" fmla="*/ 298752 w 63"/>
              <a:gd name="T53" fmla="*/ 149392 h 57"/>
              <a:gd name="T54" fmla="*/ 321733 w 63"/>
              <a:gd name="T55" fmla="*/ 112044 h 57"/>
              <a:gd name="T56" fmla="*/ 333224 w 63"/>
              <a:gd name="T57" fmla="*/ 74696 h 57"/>
              <a:gd name="T58" fmla="*/ 448129 w 63"/>
              <a:gd name="T59" fmla="*/ 0 h 57"/>
              <a:gd name="T60" fmla="*/ 459619 w 63"/>
              <a:gd name="T61" fmla="*/ 24899 h 57"/>
              <a:gd name="T62" fmla="*/ 482600 w 63"/>
              <a:gd name="T63" fmla="*/ 62247 h 57"/>
              <a:gd name="T64" fmla="*/ 540052 w 63"/>
              <a:gd name="T65" fmla="*/ 49797 h 57"/>
              <a:gd name="T66" fmla="*/ 586014 w 63"/>
              <a:gd name="T67" fmla="*/ 87145 h 57"/>
              <a:gd name="T68" fmla="*/ 666448 w 63"/>
              <a:gd name="T69" fmla="*/ 99595 h 57"/>
              <a:gd name="T70" fmla="*/ 677938 w 63"/>
              <a:gd name="T71" fmla="*/ 136943 h 57"/>
              <a:gd name="T72" fmla="*/ 700919 w 63"/>
              <a:gd name="T73" fmla="*/ 174291 h 57"/>
              <a:gd name="T74" fmla="*/ 677938 w 63"/>
              <a:gd name="T75" fmla="*/ 261436 h 57"/>
              <a:gd name="T76" fmla="*/ 700919 w 63"/>
              <a:gd name="T77" fmla="*/ 273886 h 57"/>
              <a:gd name="T78" fmla="*/ 689429 w 63"/>
              <a:gd name="T79" fmla="*/ 323683 h 57"/>
              <a:gd name="T80" fmla="*/ 723900 w 63"/>
              <a:gd name="T81" fmla="*/ 348582 h 57"/>
              <a:gd name="T82" fmla="*/ 723900 w 63"/>
              <a:gd name="T83" fmla="*/ 348582 h 57"/>
              <a:gd name="T84" fmla="*/ 700919 w 63"/>
              <a:gd name="T85" fmla="*/ 435727 h 5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63"/>
              <a:gd name="T130" fmla="*/ 0 h 57"/>
              <a:gd name="T131" fmla="*/ 63 w 63"/>
              <a:gd name="T132" fmla="*/ 57 h 5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63" h="57">
                <a:moveTo>
                  <a:pt x="61" y="35"/>
                </a:moveTo>
                <a:lnTo>
                  <a:pt x="58" y="51"/>
                </a:lnTo>
                <a:lnTo>
                  <a:pt x="48" y="50"/>
                </a:lnTo>
                <a:lnTo>
                  <a:pt x="43" y="49"/>
                </a:lnTo>
                <a:lnTo>
                  <a:pt x="38" y="47"/>
                </a:lnTo>
                <a:lnTo>
                  <a:pt x="35" y="45"/>
                </a:lnTo>
                <a:lnTo>
                  <a:pt x="34" y="42"/>
                </a:lnTo>
                <a:lnTo>
                  <a:pt x="26" y="42"/>
                </a:lnTo>
                <a:lnTo>
                  <a:pt x="22" y="46"/>
                </a:lnTo>
                <a:lnTo>
                  <a:pt x="22" y="49"/>
                </a:lnTo>
                <a:lnTo>
                  <a:pt x="19" y="51"/>
                </a:lnTo>
                <a:lnTo>
                  <a:pt x="17" y="54"/>
                </a:lnTo>
                <a:lnTo>
                  <a:pt x="12" y="55"/>
                </a:lnTo>
                <a:lnTo>
                  <a:pt x="9" y="53"/>
                </a:lnTo>
                <a:lnTo>
                  <a:pt x="7" y="57"/>
                </a:lnTo>
                <a:lnTo>
                  <a:pt x="0" y="51"/>
                </a:lnTo>
                <a:lnTo>
                  <a:pt x="5" y="50"/>
                </a:lnTo>
                <a:lnTo>
                  <a:pt x="8" y="48"/>
                </a:lnTo>
                <a:lnTo>
                  <a:pt x="8" y="43"/>
                </a:lnTo>
                <a:lnTo>
                  <a:pt x="10" y="40"/>
                </a:lnTo>
                <a:lnTo>
                  <a:pt x="6" y="36"/>
                </a:lnTo>
                <a:lnTo>
                  <a:pt x="6" y="30"/>
                </a:lnTo>
                <a:lnTo>
                  <a:pt x="9" y="26"/>
                </a:lnTo>
                <a:lnTo>
                  <a:pt x="9" y="23"/>
                </a:lnTo>
                <a:lnTo>
                  <a:pt x="15" y="21"/>
                </a:lnTo>
                <a:lnTo>
                  <a:pt x="21" y="17"/>
                </a:lnTo>
                <a:lnTo>
                  <a:pt x="26" y="12"/>
                </a:lnTo>
                <a:lnTo>
                  <a:pt x="28" y="9"/>
                </a:lnTo>
                <a:lnTo>
                  <a:pt x="29" y="6"/>
                </a:lnTo>
                <a:lnTo>
                  <a:pt x="39" y="0"/>
                </a:lnTo>
                <a:lnTo>
                  <a:pt x="40" y="2"/>
                </a:lnTo>
                <a:lnTo>
                  <a:pt x="42" y="5"/>
                </a:lnTo>
                <a:lnTo>
                  <a:pt x="47" y="4"/>
                </a:lnTo>
                <a:lnTo>
                  <a:pt x="51" y="7"/>
                </a:lnTo>
                <a:lnTo>
                  <a:pt x="58" y="8"/>
                </a:lnTo>
                <a:lnTo>
                  <a:pt x="59" y="11"/>
                </a:lnTo>
                <a:lnTo>
                  <a:pt x="61" y="14"/>
                </a:lnTo>
                <a:lnTo>
                  <a:pt x="59" y="21"/>
                </a:lnTo>
                <a:lnTo>
                  <a:pt x="61" y="22"/>
                </a:lnTo>
                <a:lnTo>
                  <a:pt x="60" y="26"/>
                </a:lnTo>
                <a:lnTo>
                  <a:pt x="63" y="28"/>
                </a:lnTo>
                <a:lnTo>
                  <a:pt x="61" y="35"/>
                </a:lnTo>
                <a:close/>
              </a:path>
            </a:pathLst>
          </a:custGeom>
          <a:solidFill>
            <a:srgbClr val="FFF6E5"/>
          </a:solidFill>
          <a:ln w="9525" algn="ctr">
            <a:solidFill>
              <a:srgbClr val="98660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91" name="AutoShape 24">
            <a:extLst>
              <a:ext uri="{FF2B5EF4-FFF2-40B4-BE49-F238E27FC236}">
                <a16:creationId xmlns:a16="http://schemas.microsoft.com/office/drawing/2014/main" id="{A1512241-40F8-4772-9E9F-42FE1DEFED1F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694267" y="1672747"/>
            <a:ext cx="4968875" cy="5400675"/>
          </a:xfrm>
          <a:prstGeom prst="wedgeRectCallout">
            <a:avLst>
              <a:gd name="adj1" fmla="val -10833"/>
              <a:gd name="adj2" fmla="val 61431"/>
            </a:avLst>
          </a:prstGeom>
          <a:noFill/>
          <a:ln w="9525">
            <a:solidFill>
              <a:srgbClr val="33996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/>
          <a:lstStyle/>
          <a:p>
            <a:r>
              <a:rPr lang="ru-RU" altLang="ru-RU" b="1"/>
              <a:t>ПОСЕЛЕНИЕ		ЦЕНТР</a:t>
            </a:r>
          </a:p>
          <a:p>
            <a:endParaRPr lang="ru-RU" altLang="ru-RU" b="1"/>
          </a:p>
          <a:p>
            <a:pPr>
              <a:buFont typeface="Wingdings" panose="05000000000000000000" pitchFamily="2" charset="2"/>
              <a:buNone/>
            </a:pPr>
            <a:r>
              <a:rPr lang="ru-RU" altLang="ru-RU" b="1">
                <a:solidFill>
                  <a:schemeClr val="bg1"/>
                </a:solidFill>
              </a:rPr>
              <a:t>«Беляевское»</a:t>
            </a:r>
            <a:r>
              <a:rPr lang="ru-RU" altLang="ru-RU"/>
              <a:t> 		с. Шалимово</a:t>
            </a:r>
          </a:p>
          <a:p>
            <a:pPr algn="ctr">
              <a:buFont typeface="Wingdings" panose="05000000000000000000" pitchFamily="2" charset="2"/>
              <a:buNone/>
            </a:pPr>
            <a:r>
              <a:rPr lang="ru-RU" altLang="ru-RU" sz="1200" b="1" i="1"/>
              <a:t>17 населённых пунктов, 324 чел. (на 01.01.2009)</a:t>
            </a:r>
          </a:p>
          <a:p>
            <a:pPr algn="ctr">
              <a:buFont typeface="Wingdings" panose="05000000000000000000" pitchFamily="2" charset="2"/>
              <a:buNone/>
            </a:pPr>
            <a:endParaRPr lang="ru-RU" altLang="ru-RU"/>
          </a:p>
          <a:p>
            <a:pPr>
              <a:buFont typeface="Wingdings" panose="05000000000000000000" pitchFamily="2" charset="2"/>
              <a:buNone/>
            </a:pPr>
            <a:r>
              <a:rPr lang="ru-RU" altLang="ru-RU" b="1">
                <a:solidFill>
                  <a:schemeClr val="bg1"/>
                </a:solidFill>
              </a:rPr>
              <a:t>«Вилегодское»</a:t>
            </a:r>
            <a:r>
              <a:rPr lang="ru-RU" altLang="ru-RU"/>
              <a:t>		с. Вилегодск</a:t>
            </a:r>
          </a:p>
          <a:p>
            <a:pPr algn="ctr">
              <a:buFont typeface="Wingdings" panose="05000000000000000000" pitchFamily="2" charset="2"/>
              <a:buNone/>
            </a:pPr>
            <a:r>
              <a:rPr lang="ru-RU" altLang="ru-RU" sz="1200" b="1" i="1"/>
              <a:t>29 населённых пункта, 1909 чел. (на 01.01.2009)</a:t>
            </a:r>
          </a:p>
          <a:p>
            <a:pPr>
              <a:buFont typeface="Wingdings" panose="05000000000000000000" pitchFamily="2" charset="2"/>
              <a:buNone/>
            </a:pPr>
            <a:endParaRPr lang="ru-RU" altLang="ru-RU"/>
          </a:p>
          <a:p>
            <a:pPr>
              <a:buFont typeface="Wingdings" panose="05000000000000000000" pitchFamily="2" charset="2"/>
              <a:buNone/>
            </a:pPr>
            <a:r>
              <a:rPr lang="ru-RU" altLang="ru-RU" b="1">
                <a:solidFill>
                  <a:schemeClr val="bg1"/>
                </a:solidFill>
              </a:rPr>
              <a:t>«Ильинское»</a:t>
            </a:r>
            <a:r>
              <a:rPr lang="ru-RU" altLang="ru-RU"/>
              <a:t>		с. Ильинско-Подомское</a:t>
            </a:r>
          </a:p>
          <a:p>
            <a:pPr algn="ctr">
              <a:buFont typeface="Wingdings" panose="05000000000000000000" pitchFamily="2" charset="2"/>
              <a:buNone/>
            </a:pPr>
            <a:r>
              <a:rPr lang="ru-RU" altLang="ru-RU" sz="1200" b="1" i="1"/>
              <a:t>48 населённых пунктов, 6429 чел. (на 01.01.2009)</a:t>
            </a:r>
          </a:p>
          <a:p>
            <a:pPr>
              <a:buFont typeface="Wingdings" panose="05000000000000000000" pitchFamily="2" charset="2"/>
              <a:buNone/>
            </a:pPr>
            <a:endParaRPr lang="ru-RU" altLang="ru-RU" b="1" i="1"/>
          </a:p>
          <a:p>
            <a:pPr>
              <a:buFont typeface="Wingdings" panose="05000000000000000000" pitchFamily="2" charset="2"/>
              <a:buNone/>
            </a:pPr>
            <a:r>
              <a:rPr lang="ru-RU" altLang="ru-RU" b="1">
                <a:solidFill>
                  <a:schemeClr val="bg1"/>
                </a:solidFill>
              </a:rPr>
              <a:t>«Никольское»</a:t>
            </a:r>
            <a:r>
              <a:rPr lang="ru-RU" altLang="ru-RU"/>
              <a:t>		с. Никольск</a:t>
            </a:r>
          </a:p>
          <a:p>
            <a:pPr algn="ctr">
              <a:buFont typeface="Wingdings" panose="05000000000000000000" pitchFamily="2" charset="2"/>
              <a:buNone/>
            </a:pPr>
            <a:r>
              <a:rPr lang="ru-RU" altLang="ru-RU" sz="1200" b="1" i="1"/>
              <a:t>42 населённых пункта, 1161 чел. (на 01.01.2009)</a:t>
            </a:r>
          </a:p>
          <a:p>
            <a:pPr>
              <a:buFont typeface="Wingdings" panose="05000000000000000000" pitchFamily="2" charset="2"/>
              <a:buNone/>
            </a:pPr>
            <a:endParaRPr lang="ru-RU" altLang="ru-RU" b="1" i="1"/>
          </a:p>
          <a:p>
            <a:pPr>
              <a:buFont typeface="Wingdings" panose="05000000000000000000" pitchFamily="2" charset="2"/>
              <a:buNone/>
            </a:pPr>
            <a:r>
              <a:rPr lang="ru-RU" altLang="ru-RU" b="1">
                <a:solidFill>
                  <a:schemeClr val="bg1"/>
                </a:solidFill>
              </a:rPr>
              <a:t>«Павловское»</a:t>
            </a:r>
            <a:r>
              <a:rPr lang="ru-RU" altLang="ru-RU"/>
              <a:t>		с. Павловск</a:t>
            </a:r>
          </a:p>
          <a:p>
            <a:pPr algn="ctr">
              <a:buFont typeface="Wingdings" panose="05000000000000000000" pitchFamily="2" charset="2"/>
              <a:buNone/>
            </a:pPr>
            <a:r>
              <a:rPr lang="ru-RU" altLang="ru-RU" sz="1200" b="1" i="1"/>
              <a:t>23 населённых пункта, 1146 чел. (на 01.01.2009)</a:t>
            </a:r>
          </a:p>
          <a:p>
            <a:pPr>
              <a:buFont typeface="Wingdings" panose="05000000000000000000" pitchFamily="2" charset="2"/>
              <a:buNone/>
            </a:pPr>
            <a:endParaRPr lang="ru-RU" altLang="ru-RU" b="1" i="1"/>
          </a:p>
          <a:p>
            <a:pPr>
              <a:buFont typeface="Wingdings" panose="05000000000000000000" pitchFamily="2" charset="2"/>
              <a:buNone/>
            </a:pPr>
            <a:r>
              <a:rPr lang="ru-RU" altLang="ru-RU" b="1">
                <a:solidFill>
                  <a:schemeClr val="bg1"/>
                </a:solidFill>
              </a:rPr>
              <a:t>«Селянское»</a:t>
            </a:r>
            <a:r>
              <a:rPr lang="ru-RU" altLang="ru-RU"/>
              <a:t>		п. Фоминск</a:t>
            </a:r>
          </a:p>
          <a:p>
            <a:pPr algn="ctr">
              <a:buFont typeface="Wingdings" panose="05000000000000000000" pitchFamily="2" charset="2"/>
              <a:buNone/>
            </a:pPr>
            <a:r>
              <a:rPr lang="ru-RU" altLang="ru-RU" sz="1200" b="1" i="1"/>
              <a:t>11 населённых пунктов, 1741 чел. (на 01.01.2009)</a:t>
            </a:r>
          </a:p>
        </p:txBody>
      </p:sp>
      <p:sp>
        <p:nvSpPr>
          <p:cNvPr id="92" name="Oval 67">
            <a:extLst>
              <a:ext uri="{FF2B5EF4-FFF2-40B4-BE49-F238E27FC236}">
                <a16:creationId xmlns:a16="http://schemas.microsoft.com/office/drawing/2014/main" id="{05B6B7DC-0965-4E15-BBE5-B048C22560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14767" y="3831747"/>
            <a:ext cx="71437" cy="71437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93" name="Oval 68">
            <a:extLst>
              <a:ext uri="{FF2B5EF4-FFF2-40B4-BE49-F238E27FC236}">
                <a16:creationId xmlns:a16="http://schemas.microsoft.com/office/drawing/2014/main" id="{CBF77F50-5BC2-41B4-A17F-238990C47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7779" y="2391884"/>
            <a:ext cx="71438" cy="71438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94" name="AutoShape 69">
            <a:extLst>
              <a:ext uri="{FF2B5EF4-FFF2-40B4-BE49-F238E27FC236}">
                <a16:creationId xmlns:a16="http://schemas.microsoft.com/office/drawing/2014/main" id="{BAF42276-EF71-470B-A441-668EE5FD42FF}"/>
              </a:ext>
            </a:extLst>
          </p:cNvPr>
          <p:cNvSpPr>
            <a:spLocks noChangeArrowheads="1"/>
          </p:cNvSpPr>
          <p:nvPr/>
        </p:nvSpPr>
        <p:spPr bwMode="auto">
          <a:xfrm rot="13678888">
            <a:off x="1084416" y="3003072"/>
            <a:ext cx="1800225" cy="323850"/>
          </a:xfrm>
          <a:custGeom>
            <a:avLst/>
            <a:gdLst>
              <a:gd name="G0" fmla="+- 16200 0 0"/>
              <a:gd name="G1" fmla="+- 5400 0 0"/>
              <a:gd name="G2" fmla="+- 21600 0 5400"/>
              <a:gd name="G3" fmla="+- 10800 0 5400"/>
              <a:gd name="G4" fmla="+- 21600 0 16200"/>
              <a:gd name="G5" fmla="*/ G4 G3 10800"/>
              <a:gd name="G6" fmla="+- 21600 0 G5"/>
              <a:gd name="T0" fmla="*/ 16200 w 21600"/>
              <a:gd name="T1" fmla="*/ 0 h 21600"/>
              <a:gd name="T2" fmla="*/ 0 w 21600"/>
              <a:gd name="T3" fmla="*/ 10800 h 21600"/>
              <a:gd name="T4" fmla="*/ 16200 w 21600"/>
              <a:gd name="T5" fmla="*/ 21600 h 21600"/>
              <a:gd name="T6" fmla="*/ 21600 w 21600"/>
              <a:gd name="T7" fmla="*/ 1080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G1 h 21600"/>
              <a:gd name="T14" fmla="*/ G6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95" name="AutoShape 70">
            <a:extLst>
              <a:ext uri="{FF2B5EF4-FFF2-40B4-BE49-F238E27FC236}">
                <a16:creationId xmlns:a16="http://schemas.microsoft.com/office/drawing/2014/main" id="{0707304B-9412-4C47-95BE-A5A86945BFB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741516" y="4047647"/>
            <a:ext cx="1152525" cy="1441450"/>
          </a:xfrm>
          <a:prstGeom prst="wedgeRectCallout">
            <a:avLst>
              <a:gd name="adj1" fmla="val -173556"/>
              <a:gd name="adj2" fmla="val -19824"/>
            </a:avLst>
          </a:prstGeom>
          <a:noFill/>
          <a:ln w="9525">
            <a:solidFill>
              <a:srgbClr val="33996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/>
          <a:lstStyle/>
          <a:p>
            <a:r>
              <a:rPr lang="ru-RU" altLang="ru-RU" sz="1200" u="sng"/>
              <a:t>Расстояние до областного центра</a:t>
            </a:r>
            <a:r>
              <a:rPr lang="ru-RU" altLang="ru-RU" sz="1200"/>
              <a:t> – г.Архангельска - по автодороге – 730 км</a:t>
            </a:r>
          </a:p>
        </p:txBody>
      </p:sp>
      <p:sp>
        <p:nvSpPr>
          <p:cNvPr id="96" name="Rectangle 78">
            <a:extLst>
              <a:ext uri="{FF2B5EF4-FFF2-40B4-BE49-F238E27FC236}">
                <a16:creationId xmlns:a16="http://schemas.microsoft.com/office/drawing/2014/main" id="{A01F9A80-0109-4FEC-8D5C-0E39F5FE4A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1242" y="6568597"/>
            <a:ext cx="3744912" cy="404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ru-RU" altLang="ru-RU" sz="1000"/>
              <a:t>Источник: ОЗ от 23.09.2004г. №258-внеоч.-ОЗ, Архангельскстат</a:t>
            </a:r>
          </a:p>
        </p:txBody>
      </p:sp>
      <p:sp>
        <p:nvSpPr>
          <p:cNvPr id="97" name="Oval 79">
            <a:extLst>
              <a:ext uri="{FF2B5EF4-FFF2-40B4-BE49-F238E27FC236}">
                <a16:creationId xmlns:a16="http://schemas.microsoft.com/office/drawing/2014/main" id="{9E9FE9BC-4DC5-4AC2-A85E-47BE1BB619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4404" y="3831747"/>
            <a:ext cx="71438" cy="71437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98" name="AutoShape 80">
            <a:extLst>
              <a:ext uri="{FF2B5EF4-FFF2-40B4-BE49-F238E27FC236}">
                <a16:creationId xmlns:a16="http://schemas.microsoft.com/office/drawing/2014/main" id="{9E546487-90DF-4B32-9DF8-37312452DB0B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2325842" y="3760309"/>
            <a:ext cx="288925" cy="215900"/>
          </a:xfrm>
          <a:custGeom>
            <a:avLst/>
            <a:gdLst>
              <a:gd name="G0" fmla="+- 16200 0 0"/>
              <a:gd name="G1" fmla="+- 5400 0 0"/>
              <a:gd name="G2" fmla="+- 21600 0 5400"/>
              <a:gd name="G3" fmla="+- 10800 0 5400"/>
              <a:gd name="G4" fmla="+- 21600 0 16200"/>
              <a:gd name="G5" fmla="*/ G4 G3 10800"/>
              <a:gd name="G6" fmla="+- 21600 0 G5"/>
              <a:gd name="T0" fmla="*/ 16200 w 21600"/>
              <a:gd name="T1" fmla="*/ 0 h 21600"/>
              <a:gd name="T2" fmla="*/ 0 w 21600"/>
              <a:gd name="T3" fmla="*/ 10800 h 21600"/>
              <a:gd name="T4" fmla="*/ 16200 w 21600"/>
              <a:gd name="T5" fmla="*/ 21600 h 21600"/>
              <a:gd name="T6" fmla="*/ 21600 w 21600"/>
              <a:gd name="T7" fmla="*/ 1080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G1 h 21600"/>
              <a:gd name="T14" fmla="*/ G6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rgbClr val="FF99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99" name="AutoShape 81">
            <a:extLst>
              <a:ext uri="{FF2B5EF4-FFF2-40B4-BE49-F238E27FC236}">
                <a16:creationId xmlns:a16="http://schemas.microsoft.com/office/drawing/2014/main" id="{BF66A2DD-9AEB-4AB8-A6DE-AD3E596D993B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1461448" y="4553265"/>
            <a:ext cx="1079500" cy="2808288"/>
          </a:xfrm>
          <a:prstGeom prst="wedgeRectCallout">
            <a:avLst>
              <a:gd name="adj1" fmla="val -194412"/>
              <a:gd name="adj2" fmla="val -15292"/>
            </a:avLst>
          </a:prstGeom>
          <a:noFill/>
          <a:ln w="9525">
            <a:solidFill>
              <a:srgbClr val="33996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/>
          <a:lstStyle/>
          <a:p>
            <a:r>
              <a:rPr lang="ru-RU" altLang="ru-RU" sz="1200" u="sng"/>
              <a:t>Расстояние около 100 км до</a:t>
            </a:r>
            <a:r>
              <a:rPr lang="ru-RU" altLang="ru-RU" sz="1200"/>
              <a:t>:</a:t>
            </a:r>
          </a:p>
          <a:p>
            <a:pPr>
              <a:buFontTx/>
              <a:buChar char="-"/>
            </a:pPr>
            <a:r>
              <a:rPr lang="ru-RU" altLang="ru-RU" sz="1200"/>
              <a:t>узловой ж/д станции «Котлас-Южный»</a:t>
            </a:r>
          </a:p>
          <a:p>
            <a:pPr>
              <a:buFontTx/>
              <a:buChar char="-"/>
            </a:pPr>
            <a:r>
              <a:rPr lang="ru-RU" altLang="ru-RU" sz="1200"/>
              <a:t>Аэропорта «Котлас»</a:t>
            </a:r>
          </a:p>
          <a:p>
            <a:pPr>
              <a:buFontTx/>
              <a:buChar char="-"/>
            </a:pPr>
            <a:r>
              <a:rPr lang="ru-RU" altLang="ru-RU" sz="1200"/>
              <a:t>Речного порта «Котлас»</a:t>
            </a:r>
          </a:p>
        </p:txBody>
      </p:sp>
    </p:spTree>
    <p:extLst>
      <p:ext uri="{BB962C8B-B14F-4D97-AF65-F5344CB8AC3E}">
        <p14:creationId xmlns:p14="http://schemas.microsoft.com/office/powerpoint/2010/main" val="7835112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672FB9-5B9D-4705-8286-B1207F102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700" b="1" dirty="0"/>
              <a:t>Причины принятия решения о преобразовании</a:t>
            </a:r>
          </a:p>
        </p:txBody>
      </p:sp>
      <p:pic>
        <p:nvPicPr>
          <p:cNvPr id="4" name="Picture 10" descr="100px-Coat_of_Arms_of_Vilegodsky_rayon_%28Arkhangelsk_oblast%29">
            <a:hlinkClick r:id="rId2" tooltip="Coat of Arms of Vilegodsky rayon (Arkhangelsk oblast).png"/>
            <a:extLst>
              <a:ext uri="{FF2B5EF4-FFF2-40B4-BE49-F238E27FC236}">
                <a16:creationId xmlns:a16="http://schemas.microsoft.com/office/drawing/2014/main" id="{F4FF01EF-4137-476C-B157-649AE8237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92347" y="994869"/>
            <a:ext cx="845651" cy="105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99959CA2-F10D-416D-AAB8-6F30F67468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9817737"/>
              </p:ext>
            </p:extLst>
          </p:nvPr>
        </p:nvGraphicFramePr>
        <p:xfrm>
          <a:off x="307758" y="2078198"/>
          <a:ext cx="8569911" cy="46345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5081197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672FB9-5B9D-4705-8286-B1207F102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700" b="1" dirty="0"/>
              <a:t>ОБЛАСТНОЙ ЗАКОН АРХАНГЕЛЬСКОЙ</a:t>
            </a:r>
            <a:br>
              <a:rPr lang="ru-RU" sz="2700" b="1" dirty="0"/>
            </a:br>
            <a:r>
              <a:rPr lang="ru-RU" sz="2700" b="1" dirty="0"/>
              <a:t>ОБЛАСТИ от 29 мая 2020 года N 266-17-ОЗ </a:t>
            </a:r>
          </a:p>
        </p:txBody>
      </p:sp>
      <p:pic>
        <p:nvPicPr>
          <p:cNvPr id="4" name="Picture 10" descr="100px-Coat_of_Arms_of_Vilegodsky_rayon_%28Arkhangelsk_oblast%29">
            <a:hlinkClick r:id="rId2" tooltip="Coat of Arms of Vilegodsky rayon (Arkhangelsk oblast).png"/>
            <a:extLst>
              <a:ext uri="{FF2B5EF4-FFF2-40B4-BE49-F238E27FC236}">
                <a16:creationId xmlns:a16="http://schemas.microsoft.com/office/drawing/2014/main" id="{F4FF01EF-4137-476C-B157-649AE8237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92347" y="994869"/>
            <a:ext cx="845651" cy="105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E05DD64-B9AF-4066-9829-CE2FDD71D8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052157"/>
            <a:ext cx="9144000" cy="6761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0557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672FB9-5B9D-4705-8286-B1207F102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700" b="1" dirty="0"/>
              <a:t>Почему решение было поддержано?</a:t>
            </a:r>
          </a:p>
        </p:txBody>
      </p:sp>
      <p:pic>
        <p:nvPicPr>
          <p:cNvPr id="4" name="Picture 10" descr="100px-Coat_of_Arms_of_Vilegodsky_rayon_%28Arkhangelsk_oblast%29">
            <a:hlinkClick r:id="rId2" tooltip="Coat of Arms of Vilegodsky rayon (Arkhangelsk oblast).png"/>
            <a:extLst>
              <a:ext uri="{FF2B5EF4-FFF2-40B4-BE49-F238E27FC236}">
                <a16:creationId xmlns:a16="http://schemas.microsoft.com/office/drawing/2014/main" id="{F4FF01EF-4137-476C-B157-649AE8237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92347" y="994869"/>
            <a:ext cx="845651" cy="105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D9B15A20-FE55-4CEB-92EB-E998F40C2383}"/>
              </a:ext>
            </a:extLst>
          </p:cNvPr>
          <p:cNvGraphicFramePr/>
          <p:nvPr/>
        </p:nvGraphicFramePr>
        <p:xfrm>
          <a:off x="406002" y="1500326"/>
          <a:ext cx="8471668" cy="52467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5973547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672FB9-5B9D-4705-8286-B1207F102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700" b="1" dirty="0"/>
              <a:t>Почему решение было поддержано?</a:t>
            </a:r>
            <a:br>
              <a:rPr lang="ru-RU" sz="2700" b="1" dirty="0"/>
            </a:br>
            <a:endParaRPr lang="ru-RU" sz="2700" b="1" dirty="0"/>
          </a:p>
        </p:txBody>
      </p:sp>
      <p:pic>
        <p:nvPicPr>
          <p:cNvPr id="4" name="Picture 10" descr="100px-Coat_of_Arms_of_Vilegodsky_rayon_%28Arkhangelsk_oblast%29">
            <a:hlinkClick r:id="rId2" tooltip="Coat of Arms of Vilegodsky rayon (Arkhangelsk oblast).png"/>
            <a:extLst>
              <a:ext uri="{FF2B5EF4-FFF2-40B4-BE49-F238E27FC236}">
                <a16:creationId xmlns:a16="http://schemas.microsoft.com/office/drawing/2014/main" id="{F4FF01EF-4137-476C-B157-649AE8237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92347" y="994869"/>
            <a:ext cx="845651" cy="105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8E89BDF-DE61-4815-84EA-75D29692A3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2049" y="1367160"/>
            <a:ext cx="6689084" cy="685800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9143052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672FB9-5B9D-4705-8286-B1207F102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b="1" dirty="0"/>
              <a:t>Основные задачи Территориального отдела</a:t>
            </a:r>
            <a:endParaRPr lang="ru-RU" sz="2700" b="1" dirty="0"/>
          </a:p>
        </p:txBody>
      </p:sp>
      <p:pic>
        <p:nvPicPr>
          <p:cNvPr id="4" name="Picture 10" descr="100px-Coat_of_Arms_of_Vilegodsky_rayon_%28Arkhangelsk_oblast%29">
            <a:hlinkClick r:id="rId2" tooltip="Coat of Arms of Vilegodsky rayon (Arkhangelsk oblast).png"/>
            <a:extLst>
              <a:ext uri="{FF2B5EF4-FFF2-40B4-BE49-F238E27FC236}">
                <a16:creationId xmlns:a16="http://schemas.microsoft.com/office/drawing/2014/main" id="{F4FF01EF-4137-476C-B157-649AE8237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92347" y="994869"/>
            <a:ext cx="845651" cy="105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354AB3A-715D-476C-ACFA-D97CC2B66490}"/>
              </a:ext>
            </a:extLst>
          </p:cNvPr>
          <p:cNvSpPr/>
          <p:nvPr/>
        </p:nvSpPr>
        <p:spPr>
          <a:xfrm>
            <a:off x="143664" y="1892359"/>
            <a:ext cx="8427280" cy="5032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6405" algn="just">
              <a:lnSpc>
                <a:spcPct val="115000"/>
              </a:lnSpc>
              <a:spcAft>
                <a:spcPts val="0"/>
              </a:spcAft>
              <a:tabLst>
                <a:tab pos="810260" algn="l"/>
              </a:tabLst>
            </a:pPr>
            <a:r>
              <a:rPr lang="ru-RU" sz="1400" b="1" dirty="0">
                <a:ea typeface="Times New Roman" panose="02020603050405020304" pitchFamily="18" charset="0"/>
              </a:rPr>
              <a:t>К основным задачам Территориального отдела относятся следующие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-1620520" algn="l"/>
                <a:tab pos="-1530350" algn="l"/>
                <a:tab pos="-1350645" algn="l"/>
                <a:tab pos="81026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Создание условий для организации досуга и обеспечения жителей услугами организаций культуры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-1620520" algn="l"/>
                <a:tab pos="-1530350" algn="l"/>
                <a:tab pos="-1350645" algn="l"/>
                <a:tab pos="81026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Обеспечение условий для развития физической культуры, школьного спорта и массового спорта, организация проведения официальных физкультурно-оздоровительных и спортивных мероприятий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-1620520" algn="l"/>
                <a:tab pos="-1530350" algn="l"/>
                <a:tab pos="-1350645" algn="l"/>
                <a:tab pos="81026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Организация и проведение мероприятий по работе с детьми и молодежью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-1620520" algn="l"/>
                <a:tab pos="-1530350" algn="l"/>
                <a:tab pos="-1350645" algn="l"/>
                <a:tab pos="81026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Участие в реализации мероприятий, направленных на социальную поддержку населения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-1620520" algn="l"/>
                <a:tab pos="-1530350" algn="l"/>
                <a:tab pos="-1350645" algn="l"/>
                <a:tab pos="81026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 Участие в реализации мероприятий, направленных на развитие институтов гражданского общества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Участие в реализации мероприятий, направленных на комплексное развитие подведомственной территории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Градостроительная деятельность в пределах полномочий, установленных законодательством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Присвоение адресов объектам адресации, наименований элементам улично-дорожной сети и элементам планировочной структуры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Организация электро-, тепло-, газо-, и водоснабжения населения, водоотведения, снабжения населения топливом в пределах полномочий, установленных законодательством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Обеспечение нуждающихся в жилых помещениях малоимущих граждан жилыми помещениями, организация строительства и содержания муниципального жилищного фонда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Работа с населением в сфере земельного законодательства и имущественных отношений.</a:t>
            </a:r>
          </a:p>
        </p:txBody>
      </p:sp>
    </p:spTree>
    <p:extLst>
      <p:ext uri="{BB962C8B-B14F-4D97-AF65-F5344CB8AC3E}">
        <p14:creationId xmlns:p14="http://schemas.microsoft.com/office/powerpoint/2010/main" val="3124442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672FB9-5B9D-4705-8286-B1207F102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b="1" dirty="0"/>
              <a:t>Основные задачи Территориального отдела</a:t>
            </a:r>
            <a:endParaRPr lang="ru-RU" sz="2700" b="1" dirty="0"/>
          </a:p>
        </p:txBody>
      </p:sp>
      <p:pic>
        <p:nvPicPr>
          <p:cNvPr id="4" name="Picture 10" descr="100px-Coat_of_Arms_of_Vilegodsky_rayon_%28Arkhangelsk_oblast%29">
            <a:hlinkClick r:id="rId2" tooltip="Coat of Arms of Vilegodsky rayon (Arkhangelsk oblast).png"/>
            <a:extLst>
              <a:ext uri="{FF2B5EF4-FFF2-40B4-BE49-F238E27FC236}">
                <a16:creationId xmlns:a16="http://schemas.microsoft.com/office/drawing/2014/main" id="{F4FF01EF-4137-476C-B157-649AE8237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92347" y="994869"/>
            <a:ext cx="845651" cy="105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354AB3A-715D-476C-ACFA-D97CC2B66490}"/>
              </a:ext>
            </a:extLst>
          </p:cNvPr>
          <p:cNvSpPr/>
          <p:nvPr/>
        </p:nvSpPr>
        <p:spPr>
          <a:xfrm>
            <a:off x="138414" y="1770803"/>
            <a:ext cx="8867171" cy="52807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 startAt="12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Дорожная деятельность в отношении автомобильных дорог местного значения в границах населенных пунктов и вне границ населенных пунктов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 startAt="12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Организация благоустройства территории, а также организация использования, охраны, защиты, воспроизводства лесов особо охраняемых природных территорий, расположенных в границах населенных пунктов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 startAt="12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Участие в организации деятельности по накоплению (в том числе раздельному накоплению), сбору, транспортированию, обработке, утилизации, обезвреживанию, захоронению твердых коммунальных отходов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 startAt="12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Создание условий для обеспечения жителей услугами связи и торговли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 startAt="12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Организация ритуальных услуг и содержание мест захоронения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 startAt="12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Обеспечение первичных мер пожарной безопасности в границах населенных пунктов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 startAt="12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Участие в предупреждении и ликвидации последствий чрезвычайных ситуаций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 startAt="12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Осуществление мероприятий по обеспечению безопасности людей на водных объектах, охране их жизни и здоровья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 startAt="12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Создание условий для деятельности народных дружин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 startAt="12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Содействие в развитии сельскохозяйственного производства, создание условий для развития малого и среднего предпринимательства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 startAt="12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Совершение нотариальных действий, предусмотренных законодательством, участие в работе административной комиссии Вилегодского муниципального округа.</a:t>
            </a:r>
          </a:p>
          <a:p>
            <a:pPr marL="742950" lvl="1" indent="-28575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 startAt="12"/>
              <a:tabLst>
                <a:tab pos="-1620520" algn="l"/>
                <a:tab pos="-1530350" algn="l"/>
                <a:tab pos="-1350645" algn="l"/>
                <a:tab pos="810260" algn="l"/>
                <a:tab pos="908050" algn="l"/>
              </a:tabLst>
            </a:pPr>
            <a:r>
              <a:rPr lang="ru-RU" sz="1400" dirty="0">
                <a:ea typeface="Times New Roman" panose="02020603050405020304" pitchFamily="18" charset="0"/>
              </a:rPr>
              <a:t>Иные задачи, определенные нормативными правовыми и распорядительными актами Вилегодского муниципального округа.</a:t>
            </a:r>
            <a:endParaRPr lang="ru-RU" sz="1400" dirty="0">
              <a:effectLst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32809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doxbzZ6k2eHnw6A03FW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fAIkKf8kS3CilnXbTd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uqNQefFUegf8J3P3ca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YUZN8zCkKwVeZoAbzf9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FBLzScOUOlDyFLUkYc.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Hv9PqStkC.ntjCMF_Y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dCK8sha0C4UdLOqKacE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9uLpi89EKPK.1pXi7S9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txFlxjU2sTJsJWM8_X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HDSKLDOUqF_EoDnDhzS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eca8zDFU6mcC9ch5Vw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uv1G0FvE.2sw6SWGBEr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doxbzZ6k2eHnw6A03F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uv1G0FvE.2sw6SWGBE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5E7pHnCkaoSxThMrAA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13fJeBLUyCt46Ip.uv9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IbL5b0nUmxmNES.m_l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V4G6.Gt0uMEStb8bSh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kYe5pq0iPfyzX_bY2T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Cu5_jpU0yCnzi_bZF2.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nDOFHnQ0m.tvRx5GOi6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fAIkKf8kS3CilnXbTd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5E7pHnCkaoSxThMrAAM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uqNQefFUegf8J3P3ca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YUZN8zCkKwVeZoAbzf9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FBLzScOUOlDyFLUkYc.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Hv9PqStkC.ntjCMF_YE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dCK8sha0C4UdLOqKac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9uLpi89EKPK.1pXi7S9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.txFlxjU2sTJsJWM8_X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HDSKLDOUqF_EoDnDhzS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eca8zDFU6mcC9ch5Vw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13fJeBLUyCt46Ip.uv9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IbL5b0nUmxmNES.m_l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V4G6.Gt0uMEStb8bSh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kYe5pq0iPfyzX_bY2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Cu5_jpU0yCnzi_bZF2.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nDOFHnQ0m.tvRx5GOi6Q"/>
</p:tagLst>
</file>

<file path=ppt/theme/theme1.xml><?xml version="1.0" encoding="utf-8"?>
<a:theme xmlns:a="http://schemas.openxmlformats.org/drawingml/2006/main" name="Дивиденд">
  <a:themeElements>
    <a:clrScheme name="Другая 9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008E40"/>
      </a:accent1>
      <a:accent2>
        <a:srgbClr val="2172AF"/>
      </a:accent2>
      <a:accent3>
        <a:srgbClr val="9F6715"/>
      </a:accent3>
      <a:accent4>
        <a:srgbClr val="FFDB01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Дивиденд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Дивиденд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" id="{9697A71B-4AB7-4A1A-BD5B-BB2D22835B57}" vid="{C21699FF-00E4-43C8-BBCC-D7E5536C3717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96[[fn=Параллакс]]</Template>
  <TotalTime>2062</TotalTime>
  <Words>1052</Words>
  <Application>Microsoft Office PowerPoint</Application>
  <PresentationFormat>Экран (4:3)</PresentationFormat>
  <Paragraphs>133</Paragraphs>
  <Slides>14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2" baseType="lpstr">
      <vt:lpstr>Arial</vt:lpstr>
      <vt:lpstr>Calibri</vt:lpstr>
      <vt:lpstr>Corbel</vt:lpstr>
      <vt:lpstr>Gill Sans MT</vt:lpstr>
      <vt:lpstr>Times New Roman</vt:lpstr>
      <vt:lpstr>Wingdings</vt:lpstr>
      <vt:lpstr>Wingdings 2</vt:lpstr>
      <vt:lpstr>Дивиденд</vt:lpstr>
      <vt:lpstr>О практике преобразования муниципального района в муниципальный округ </vt:lpstr>
      <vt:lpstr>ОБЩАЯ ИНФОРМАЦИЯ О МУНИЦИПАЛЬНОМ ОБРАЗОВАНИИ</vt:lpstr>
      <vt:lpstr>АДМИНИСТРАТИВНОЕ ДЕЛЕНИЕ МУНИЦИПАЛЬНОГО ОБРАЗОВАНИЯ «ВИЛЕГОДСКИЙ МУНИЦИПАЛЬНЫЙ РАЙОН»</vt:lpstr>
      <vt:lpstr>Причины принятия решения о преобразовании</vt:lpstr>
      <vt:lpstr>ОБЛАСТНОЙ ЗАКОН АРХАНГЕЛЬСКОЙ ОБЛАСТИ от 29 мая 2020 года N 266-17-ОЗ </vt:lpstr>
      <vt:lpstr>Почему решение было поддержано?</vt:lpstr>
      <vt:lpstr>Почему решение было поддержано? </vt:lpstr>
      <vt:lpstr>Основные задачи Территориального отдела</vt:lpstr>
      <vt:lpstr>Основные задачи Территориального отдела</vt:lpstr>
      <vt:lpstr>Основные задачи Территориального отдела</vt:lpstr>
      <vt:lpstr>Проблемы в процессе преобразования </vt:lpstr>
      <vt:lpstr>Положительные результаты преобразования</vt:lpstr>
      <vt:lpstr>Отрицательные результаты преобразования (обманутые ожидания)</vt:lpstr>
      <vt:lpstr>Реализация в 2021 году плана мероприятий по социально-экономическому развитию Вилегодского муниципального округа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ксенов Алексей Юрьевич</dc:creator>
  <cp:lastModifiedBy>Аксенов Алексей Юрьевич</cp:lastModifiedBy>
  <cp:revision>300</cp:revision>
  <dcterms:created xsi:type="dcterms:W3CDTF">2017-04-24T10:23:08Z</dcterms:created>
  <dcterms:modified xsi:type="dcterms:W3CDTF">2022-11-20T11:36:38Z</dcterms:modified>
</cp:coreProperties>
</file>